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96" r:id="rId8"/>
  </p:sldMasterIdLst>
  <p:notesMasterIdLst>
    <p:notesMasterId r:id="rId26"/>
  </p:notesMasterIdLst>
  <p:handoutMasterIdLst>
    <p:handoutMasterId r:id="rId27"/>
  </p:handoutMasterIdLst>
  <p:sldIdLst>
    <p:sldId id="5047" r:id="rId9"/>
    <p:sldId id="2147483586" r:id="rId10"/>
    <p:sldId id="5050" r:id="rId11"/>
    <p:sldId id="5062" r:id="rId12"/>
    <p:sldId id="5051" r:id="rId13"/>
    <p:sldId id="5052" r:id="rId14"/>
    <p:sldId id="2147483494" r:id="rId15"/>
    <p:sldId id="2147483588" r:id="rId16"/>
    <p:sldId id="2147483495" r:id="rId17"/>
    <p:sldId id="2147483498" r:id="rId18"/>
    <p:sldId id="2147483496" r:id="rId19"/>
    <p:sldId id="2147483497" r:id="rId20"/>
    <p:sldId id="2147483499" r:id="rId21"/>
    <p:sldId id="2147483566" r:id="rId22"/>
    <p:sldId id="2147483585" r:id="rId23"/>
    <p:sldId id="2147483580" r:id="rId24"/>
    <p:sldId id="5049" r:id="rId25"/>
  </p:sldIdLst>
  <p:sldSz cx="12192000" cy="6858000"/>
  <p:notesSz cx="7315200" cy="96012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EB9FC26-E7CE-4AEB-88B9-FE7102F217CC}">
          <p14:sldIdLst>
            <p14:sldId id="5047"/>
            <p14:sldId id="2147483586"/>
            <p14:sldId id="5050"/>
            <p14:sldId id="5062"/>
            <p14:sldId id="5051"/>
            <p14:sldId id="5052"/>
            <p14:sldId id="2147483494"/>
            <p14:sldId id="2147483588"/>
            <p14:sldId id="2147483495"/>
            <p14:sldId id="2147483498"/>
            <p14:sldId id="2147483496"/>
            <p14:sldId id="2147483497"/>
            <p14:sldId id="2147483499"/>
            <p14:sldId id="2147483566"/>
            <p14:sldId id="2147483585"/>
            <p14:sldId id="2147483580"/>
            <p14:sldId id="504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E98D"/>
    <a:srgbClr val="25890D"/>
    <a:srgbClr val="FFFFFF"/>
    <a:srgbClr val="D1ECA0"/>
    <a:srgbClr val="65AB53"/>
    <a:srgbClr val="A1CC97"/>
    <a:srgbClr val="86BC25"/>
    <a:srgbClr val="009A44"/>
    <a:srgbClr val="CEEAB1"/>
    <a:srgbClr val="D7F4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EEA38B-7F01-4581-8895-6639FE797D38}" v="129" dt="2026-03-06T21:38:41.2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538" autoAdjust="0"/>
    <p:restoredTop sz="96301" autoAdjust="0"/>
  </p:normalViewPr>
  <p:slideViewPr>
    <p:cSldViewPr snapToGrid="0">
      <p:cViewPr>
        <p:scale>
          <a:sx n="80" d="100"/>
          <a:sy n="80" d="100"/>
        </p:scale>
        <p:origin x="-444" y="-30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5/10/relationships/revisionInfo" Target="revisionInfo.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toro, Daniela" userId="9059ccb9-1c90-41a3-b2fa-74e2481711a9" providerId="ADAL" clId="{A64C221C-A93B-5381-BB88-37AEFB2908EC}"/>
    <pc:docChg chg="custSel modSld">
      <pc:chgData name="Santoro, Daniela" userId="9059ccb9-1c90-41a3-b2fa-74e2481711a9" providerId="ADAL" clId="{A64C221C-A93B-5381-BB88-37AEFB2908EC}" dt="2025-11-26T16:56:07.542" v="22"/>
      <pc:docMkLst>
        <pc:docMk/>
      </pc:docMkLst>
      <pc:sldChg chg="addSp delSp modSp mod">
        <pc:chgData name="Santoro, Daniela" userId="9059ccb9-1c90-41a3-b2fa-74e2481711a9" providerId="ADAL" clId="{A64C221C-A93B-5381-BB88-37AEFB2908EC}" dt="2025-11-26T16:55:16.540" v="2"/>
        <pc:sldMkLst>
          <pc:docMk/>
          <pc:sldMk cId="1667737597" sldId="5027"/>
        </pc:sldMkLst>
      </pc:sldChg>
      <pc:sldChg chg="addSp delSp modSp mod">
        <pc:chgData name="Santoro, Daniela" userId="9059ccb9-1c90-41a3-b2fa-74e2481711a9" providerId="ADAL" clId="{A64C221C-A93B-5381-BB88-37AEFB2908EC}" dt="2025-11-26T16:55:21.540" v="4"/>
        <pc:sldMkLst>
          <pc:docMk/>
          <pc:sldMk cId="1902492067" sldId="5029"/>
        </pc:sldMkLst>
      </pc:sldChg>
      <pc:sldChg chg="addSp delSp modSp mod">
        <pc:chgData name="Santoro, Daniela" userId="9059ccb9-1c90-41a3-b2fa-74e2481711a9" providerId="ADAL" clId="{A64C221C-A93B-5381-BB88-37AEFB2908EC}" dt="2025-11-26T16:55:26.319" v="6"/>
        <pc:sldMkLst>
          <pc:docMk/>
          <pc:sldMk cId="3874745291" sldId="5033"/>
        </pc:sldMkLst>
      </pc:sldChg>
      <pc:sldChg chg="addSp delSp modSp mod">
        <pc:chgData name="Santoro, Daniela" userId="9059ccb9-1c90-41a3-b2fa-74e2481711a9" providerId="ADAL" clId="{A64C221C-A93B-5381-BB88-37AEFB2908EC}" dt="2025-11-26T16:55:33.610" v="8"/>
        <pc:sldMkLst>
          <pc:docMk/>
          <pc:sldMk cId="931837598" sldId="5038"/>
        </pc:sldMkLst>
      </pc:sldChg>
      <pc:sldChg chg="addSp delSp modSp mod">
        <pc:chgData name="Santoro, Daniela" userId="9059ccb9-1c90-41a3-b2fa-74e2481711a9" providerId="ADAL" clId="{A64C221C-A93B-5381-BB88-37AEFB2908EC}" dt="2025-11-26T16:55:39.175" v="10"/>
        <pc:sldMkLst>
          <pc:docMk/>
          <pc:sldMk cId="2748170520" sldId="5039"/>
        </pc:sldMkLst>
      </pc:sldChg>
      <pc:sldChg chg="addSp delSp modSp mod">
        <pc:chgData name="Santoro, Daniela" userId="9059ccb9-1c90-41a3-b2fa-74e2481711a9" providerId="ADAL" clId="{A64C221C-A93B-5381-BB88-37AEFB2908EC}" dt="2025-11-26T16:55:43.838" v="12"/>
        <pc:sldMkLst>
          <pc:docMk/>
          <pc:sldMk cId="2254803982" sldId="5041"/>
        </pc:sldMkLst>
      </pc:sldChg>
      <pc:sldChg chg="addSp delSp modSp mod">
        <pc:chgData name="Santoro, Daniela" userId="9059ccb9-1c90-41a3-b2fa-74e2481711a9" providerId="ADAL" clId="{A64C221C-A93B-5381-BB88-37AEFB2908EC}" dt="2025-11-26T16:55:47.636" v="14"/>
        <pc:sldMkLst>
          <pc:docMk/>
          <pc:sldMk cId="2514855628" sldId="5042"/>
        </pc:sldMkLst>
      </pc:sldChg>
      <pc:sldChg chg="addSp delSp modSp mod">
        <pc:chgData name="Santoro, Daniela" userId="9059ccb9-1c90-41a3-b2fa-74e2481711a9" providerId="ADAL" clId="{A64C221C-A93B-5381-BB88-37AEFB2908EC}" dt="2025-11-26T16:55:52.701" v="16"/>
        <pc:sldMkLst>
          <pc:docMk/>
          <pc:sldMk cId="4106181863" sldId="5043"/>
        </pc:sldMkLst>
      </pc:sldChg>
      <pc:sldChg chg="addSp delSp modSp mod">
        <pc:chgData name="Santoro, Daniela" userId="9059ccb9-1c90-41a3-b2fa-74e2481711a9" providerId="ADAL" clId="{A64C221C-A93B-5381-BB88-37AEFB2908EC}" dt="2025-11-26T16:55:57.156" v="18"/>
        <pc:sldMkLst>
          <pc:docMk/>
          <pc:sldMk cId="3924104154" sldId="5044"/>
        </pc:sldMkLst>
      </pc:sldChg>
      <pc:sldChg chg="addSp delSp modSp mod">
        <pc:chgData name="Santoro, Daniela" userId="9059ccb9-1c90-41a3-b2fa-74e2481711a9" providerId="ADAL" clId="{A64C221C-A93B-5381-BB88-37AEFB2908EC}" dt="2025-11-26T16:56:03.701" v="20"/>
        <pc:sldMkLst>
          <pc:docMk/>
          <pc:sldMk cId="691436314" sldId="5045"/>
        </pc:sldMkLst>
      </pc:sldChg>
      <pc:sldChg chg="addSp delSp modSp mod">
        <pc:chgData name="Santoro, Daniela" userId="9059ccb9-1c90-41a3-b2fa-74e2481711a9" providerId="ADAL" clId="{A64C221C-A93B-5381-BB88-37AEFB2908EC}" dt="2025-11-26T16:56:07.542" v="22"/>
        <pc:sldMkLst>
          <pc:docMk/>
          <pc:sldMk cId="3005763161" sldId="5046"/>
        </pc:sldMkLst>
      </pc:sldChg>
    </pc:docChg>
  </pc:docChgLst>
  <pc:docChgLst>
    <pc:chgData name="Rienks, Rutger" userId="66af6280-af5f-4585-9380-ff89c9177423" providerId="ADAL" clId="{140DD42F-A2B8-4501-82CC-C11D0E6300B1}"/>
    <pc:docChg chg="undo custSel addSld delSld modSld sldOrd modSection">
      <pc:chgData name="Rienks, Rutger" userId="66af6280-af5f-4585-9380-ff89c9177423" providerId="ADAL" clId="{140DD42F-A2B8-4501-82CC-C11D0E6300B1}" dt="2026-03-06T21:41:12.825" v="875" actId="20577"/>
      <pc:docMkLst>
        <pc:docMk/>
      </pc:docMkLst>
      <pc:sldChg chg="addSp delSp modSp mod">
        <pc:chgData name="Rienks, Rutger" userId="66af6280-af5f-4585-9380-ff89c9177423" providerId="ADAL" clId="{140DD42F-A2B8-4501-82CC-C11D0E6300B1}" dt="2026-03-06T21:34:04.647" v="819" actId="207"/>
        <pc:sldMkLst>
          <pc:docMk/>
          <pc:sldMk cId="0" sldId="5047"/>
        </pc:sldMkLst>
        <pc:spChg chg="add mod">
          <ac:chgData name="Rienks, Rutger" userId="66af6280-af5f-4585-9380-ff89c9177423" providerId="ADAL" clId="{140DD42F-A2B8-4501-82CC-C11D0E6300B1}" dt="2026-03-04T07:26:15.926" v="3" actId="2085"/>
          <ac:spMkLst>
            <pc:docMk/>
            <pc:sldMk cId="0" sldId="5047"/>
            <ac:spMk id="5" creationId="{BB2FD7B3-6AE4-48C4-82CA-C27C799089D7}"/>
          </ac:spMkLst>
        </pc:spChg>
        <pc:spChg chg="mod">
          <ac:chgData name="Rienks, Rutger" userId="66af6280-af5f-4585-9380-ff89c9177423" providerId="ADAL" clId="{140DD42F-A2B8-4501-82CC-C11D0E6300B1}" dt="2026-03-06T21:34:04.647" v="819" actId="207"/>
          <ac:spMkLst>
            <pc:docMk/>
            <pc:sldMk cId="0" sldId="5047"/>
            <ac:spMk id="9" creationId="{0892BD4A-6D8E-DB18-715C-D8EA2DB473E4}"/>
          </ac:spMkLst>
        </pc:spChg>
        <pc:spChg chg="mod">
          <ac:chgData name="Rienks, Rutger" userId="66af6280-af5f-4585-9380-ff89c9177423" providerId="ADAL" clId="{140DD42F-A2B8-4501-82CC-C11D0E6300B1}" dt="2026-03-04T07:26:36.680" v="19" actId="1076"/>
          <ac:spMkLst>
            <pc:docMk/>
            <pc:sldMk cId="0" sldId="5047"/>
            <ac:spMk id="10" creationId="{EE6E3A37-BD04-6FDC-79EA-7AD5F5320EF2}"/>
          </ac:spMkLst>
        </pc:spChg>
      </pc:sldChg>
      <pc:sldChg chg="del">
        <pc:chgData name="Rienks, Rutger" userId="66af6280-af5f-4585-9380-ff89c9177423" providerId="ADAL" clId="{140DD42F-A2B8-4501-82CC-C11D0E6300B1}" dt="2026-03-04T07:26:56.562" v="20" actId="47"/>
        <pc:sldMkLst>
          <pc:docMk/>
          <pc:sldMk cId="0" sldId="5048"/>
        </pc:sldMkLst>
      </pc:sldChg>
      <pc:sldChg chg="addSp delSp modSp mod ord">
        <pc:chgData name="Rienks, Rutger" userId="66af6280-af5f-4585-9380-ff89c9177423" providerId="ADAL" clId="{140DD42F-A2B8-4501-82CC-C11D0E6300B1}" dt="2026-03-06T21:33:15.226" v="793" actId="1076"/>
        <pc:sldMkLst>
          <pc:docMk/>
          <pc:sldMk cId="0" sldId="5049"/>
        </pc:sldMkLst>
        <pc:spChg chg="mod">
          <ac:chgData name="Rienks, Rutger" userId="66af6280-af5f-4585-9380-ff89c9177423" providerId="ADAL" clId="{140DD42F-A2B8-4501-82CC-C11D0E6300B1}" dt="2026-03-06T21:33:06.479" v="792" actId="1076"/>
          <ac:spMkLst>
            <pc:docMk/>
            <pc:sldMk cId="0" sldId="5049"/>
            <ac:spMk id="4" creationId="{91D4E27F-4B6E-A4F8-1830-EC9CF15C9FCD}"/>
          </ac:spMkLst>
        </pc:spChg>
        <pc:spChg chg="mod">
          <ac:chgData name="Rienks, Rutger" userId="66af6280-af5f-4585-9380-ff89c9177423" providerId="ADAL" clId="{140DD42F-A2B8-4501-82CC-C11D0E6300B1}" dt="2026-03-06T21:33:15.226" v="793" actId="1076"/>
          <ac:spMkLst>
            <pc:docMk/>
            <pc:sldMk cId="0" sldId="5049"/>
            <ac:spMk id="5" creationId="{1A972900-8A09-6F1D-D482-E83C52664FCB}"/>
          </ac:spMkLst>
        </pc:spChg>
        <pc:spChg chg="mod">
          <ac:chgData name="Rienks, Rutger" userId="66af6280-af5f-4585-9380-ff89c9177423" providerId="ADAL" clId="{140DD42F-A2B8-4501-82CC-C11D0E6300B1}" dt="2026-03-06T21:33:06.479" v="792" actId="1076"/>
          <ac:spMkLst>
            <pc:docMk/>
            <pc:sldMk cId="0" sldId="5049"/>
            <ac:spMk id="7" creationId="{54058AEF-A0E9-3A1B-7125-9329F8853ECE}"/>
          </ac:spMkLst>
        </pc:spChg>
        <pc:spChg chg="mod">
          <ac:chgData name="Rienks, Rutger" userId="66af6280-af5f-4585-9380-ff89c9177423" providerId="ADAL" clId="{140DD42F-A2B8-4501-82CC-C11D0E6300B1}" dt="2026-03-06T21:33:06.479" v="792" actId="1076"/>
          <ac:spMkLst>
            <pc:docMk/>
            <pc:sldMk cId="0" sldId="5049"/>
            <ac:spMk id="8" creationId="{AFC91CEE-7DB5-AD19-884B-2379CF5706C4}"/>
          </ac:spMkLst>
        </pc:spChg>
        <pc:spChg chg="mod">
          <ac:chgData name="Rienks, Rutger" userId="66af6280-af5f-4585-9380-ff89c9177423" providerId="ADAL" clId="{140DD42F-A2B8-4501-82CC-C11D0E6300B1}" dt="2026-03-06T21:33:06.479" v="792" actId="1076"/>
          <ac:spMkLst>
            <pc:docMk/>
            <pc:sldMk cId="0" sldId="5049"/>
            <ac:spMk id="9" creationId="{D57E2342-8A4A-1EE0-2E21-0814AC9C3D13}"/>
          </ac:spMkLst>
        </pc:spChg>
        <pc:spChg chg="add mod">
          <ac:chgData name="Rienks, Rutger" userId="66af6280-af5f-4585-9380-ff89c9177423" providerId="ADAL" clId="{140DD42F-A2B8-4501-82CC-C11D0E6300B1}" dt="2026-03-04T07:30:13.256" v="57" actId="207"/>
          <ac:spMkLst>
            <pc:docMk/>
            <pc:sldMk cId="0" sldId="5049"/>
            <ac:spMk id="10" creationId="{EB14661B-11CD-919D-2DE7-A6AB7B9E9451}"/>
          </ac:spMkLst>
        </pc:spChg>
        <pc:picChg chg="del">
          <ac:chgData name="Rienks, Rutger" userId="66af6280-af5f-4585-9380-ff89c9177423" providerId="ADAL" clId="{140DD42F-A2B8-4501-82CC-C11D0E6300B1}" dt="2026-03-06T21:32:31.606" v="789" actId="478"/>
          <ac:picMkLst>
            <pc:docMk/>
            <pc:sldMk cId="0" sldId="5049"/>
            <ac:picMk id="2" creationId="{00000000-0000-0000-0000-000000000000}"/>
          </ac:picMkLst>
        </pc:picChg>
        <pc:picChg chg="del">
          <ac:chgData name="Rienks, Rutger" userId="66af6280-af5f-4585-9380-ff89c9177423" providerId="ADAL" clId="{140DD42F-A2B8-4501-82CC-C11D0E6300B1}" dt="2026-03-06T21:32:33.466" v="790" actId="478"/>
          <ac:picMkLst>
            <pc:docMk/>
            <pc:sldMk cId="0" sldId="5049"/>
            <ac:picMk id="3" creationId="{00000000-0000-0000-0000-000000000000}"/>
          </ac:picMkLst>
        </pc:picChg>
        <pc:picChg chg="add mod">
          <ac:chgData name="Rienks, Rutger" userId="66af6280-af5f-4585-9380-ff89c9177423" providerId="ADAL" clId="{140DD42F-A2B8-4501-82CC-C11D0E6300B1}" dt="2026-03-06T21:32:39.929" v="791"/>
          <ac:picMkLst>
            <pc:docMk/>
            <pc:sldMk cId="0" sldId="5049"/>
            <ac:picMk id="11" creationId="{81188EF0-00B1-CC92-CB92-40D4FDFE31B4}"/>
          </ac:picMkLst>
        </pc:picChg>
      </pc:sldChg>
      <pc:sldChg chg="addSp delSp modSp mod">
        <pc:chgData name="Rienks, Rutger" userId="66af6280-af5f-4585-9380-ff89c9177423" providerId="ADAL" clId="{140DD42F-A2B8-4501-82CC-C11D0E6300B1}" dt="2026-03-06T21:01:50.641" v="619" actId="1076"/>
        <pc:sldMkLst>
          <pc:docMk/>
          <pc:sldMk cId="0" sldId="5050"/>
        </pc:sldMkLst>
        <pc:spChg chg="mod">
          <ac:chgData name="Rienks, Rutger" userId="66af6280-af5f-4585-9380-ff89c9177423" providerId="ADAL" clId="{140DD42F-A2B8-4501-82CC-C11D0E6300B1}" dt="2026-03-06T21:00:54.344" v="611" actId="1076"/>
          <ac:spMkLst>
            <pc:docMk/>
            <pc:sldMk cId="0" sldId="5050"/>
            <ac:spMk id="2" creationId="{DBD98F4C-3900-6FA8-35E0-FF10365AB675}"/>
          </ac:spMkLst>
        </pc:spChg>
        <pc:spChg chg="mod">
          <ac:chgData name="Rienks, Rutger" userId="66af6280-af5f-4585-9380-ff89c9177423" providerId="ADAL" clId="{140DD42F-A2B8-4501-82CC-C11D0E6300B1}" dt="2026-03-06T21:00:37.410" v="609" actId="1076"/>
          <ac:spMkLst>
            <pc:docMk/>
            <pc:sldMk cId="0" sldId="5050"/>
            <ac:spMk id="3" creationId="{95BC9732-46FA-3D12-FD37-FB931E32E0A4}"/>
          </ac:spMkLst>
        </pc:spChg>
        <pc:spChg chg="mod">
          <ac:chgData name="Rienks, Rutger" userId="66af6280-af5f-4585-9380-ff89c9177423" providerId="ADAL" clId="{140DD42F-A2B8-4501-82CC-C11D0E6300B1}" dt="2026-03-06T21:00:54.344" v="611" actId="1076"/>
          <ac:spMkLst>
            <pc:docMk/>
            <pc:sldMk cId="0" sldId="5050"/>
            <ac:spMk id="4" creationId="{AA0FB143-FF44-D501-763E-210A3A519245}"/>
          </ac:spMkLst>
        </pc:spChg>
        <pc:spChg chg="del">
          <ac:chgData name="Rienks, Rutger" userId="66af6280-af5f-4585-9380-ff89c9177423" providerId="ADAL" clId="{140DD42F-A2B8-4501-82CC-C11D0E6300B1}" dt="2026-03-06T21:00:23.489" v="607" actId="478"/>
          <ac:spMkLst>
            <pc:docMk/>
            <pc:sldMk cId="0" sldId="5050"/>
            <ac:spMk id="5" creationId="{42E0C37F-F475-EECA-94E8-1C2164C82D73}"/>
          </ac:spMkLst>
        </pc:spChg>
        <pc:spChg chg="del">
          <ac:chgData name="Rienks, Rutger" userId="66af6280-af5f-4585-9380-ff89c9177423" providerId="ADAL" clId="{140DD42F-A2B8-4501-82CC-C11D0E6300B1}" dt="2026-03-06T21:00:26.669" v="608" actId="478"/>
          <ac:spMkLst>
            <pc:docMk/>
            <pc:sldMk cId="0" sldId="5050"/>
            <ac:spMk id="6" creationId="{6AA482C2-317A-0FC7-DBA2-FB8DD3F0A7B2}"/>
          </ac:spMkLst>
        </pc:spChg>
        <pc:spChg chg="mod">
          <ac:chgData name="Rienks, Rutger" userId="66af6280-af5f-4585-9380-ff89c9177423" providerId="ADAL" clId="{140DD42F-A2B8-4501-82CC-C11D0E6300B1}" dt="2026-03-06T21:00:54.344" v="611" actId="1076"/>
          <ac:spMkLst>
            <pc:docMk/>
            <pc:sldMk cId="0" sldId="5050"/>
            <ac:spMk id="9" creationId="{DAA88F1E-1F4E-7F55-BF76-FEAFBB2259A8}"/>
          </ac:spMkLst>
        </pc:spChg>
        <pc:spChg chg="mod">
          <ac:chgData name="Rienks, Rutger" userId="66af6280-af5f-4585-9380-ff89c9177423" providerId="ADAL" clId="{140DD42F-A2B8-4501-82CC-C11D0E6300B1}" dt="2026-03-06T21:00:54.344" v="611" actId="1076"/>
          <ac:spMkLst>
            <pc:docMk/>
            <pc:sldMk cId="0" sldId="5050"/>
            <ac:spMk id="10" creationId="{31EFED53-B2DB-EA5B-16F2-F628521F450B}"/>
          </ac:spMkLst>
        </pc:spChg>
        <pc:spChg chg="mod">
          <ac:chgData name="Rienks, Rutger" userId="66af6280-af5f-4585-9380-ff89c9177423" providerId="ADAL" clId="{140DD42F-A2B8-4501-82CC-C11D0E6300B1}" dt="2026-03-06T21:01:50.641" v="619" actId="1076"/>
          <ac:spMkLst>
            <pc:docMk/>
            <pc:sldMk cId="0" sldId="5050"/>
            <ac:spMk id="12" creationId="{143263E8-A9F0-E9EB-E3B5-878B6F47E8FF}"/>
          </ac:spMkLst>
        </pc:spChg>
        <pc:spChg chg="add mod">
          <ac:chgData name="Rienks, Rutger" userId="66af6280-af5f-4585-9380-ff89c9177423" providerId="ADAL" clId="{140DD42F-A2B8-4501-82CC-C11D0E6300B1}" dt="2026-03-06T21:00:54.344" v="611" actId="1076"/>
          <ac:spMkLst>
            <pc:docMk/>
            <pc:sldMk cId="0" sldId="5050"/>
            <ac:spMk id="13" creationId="{6641DAD0-85DA-AFFB-2536-6921A71E8192}"/>
          </ac:spMkLst>
        </pc:spChg>
        <pc:spChg chg="add mod">
          <ac:chgData name="Rienks, Rutger" userId="66af6280-af5f-4585-9380-ff89c9177423" providerId="ADAL" clId="{140DD42F-A2B8-4501-82CC-C11D0E6300B1}" dt="2026-03-06T21:00:54.344" v="611" actId="1076"/>
          <ac:spMkLst>
            <pc:docMk/>
            <pc:sldMk cId="0" sldId="5050"/>
            <ac:spMk id="15" creationId="{603CEF20-A85A-D1FD-4568-BC4B0A919E27}"/>
          </ac:spMkLst>
        </pc:spChg>
        <pc:spChg chg="add mod">
          <ac:chgData name="Rienks, Rutger" userId="66af6280-af5f-4585-9380-ff89c9177423" providerId="ADAL" clId="{140DD42F-A2B8-4501-82CC-C11D0E6300B1}" dt="2026-03-06T21:00:54.344" v="611" actId="1076"/>
          <ac:spMkLst>
            <pc:docMk/>
            <pc:sldMk cId="0" sldId="5050"/>
            <ac:spMk id="17" creationId="{93C92DDF-79FF-5A86-2BC3-7385843478AC}"/>
          </ac:spMkLst>
        </pc:spChg>
        <pc:spChg chg="add mod">
          <ac:chgData name="Rienks, Rutger" userId="66af6280-af5f-4585-9380-ff89c9177423" providerId="ADAL" clId="{140DD42F-A2B8-4501-82CC-C11D0E6300B1}" dt="2026-03-06T21:00:54.344" v="611" actId="1076"/>
          <ac:spMkLst>
            <pc:docMk/>
            <pc:sldMk cId="0" sldId="5050"/>
            <ac:spMk id="19" creationId="{9BEEB03B-760E-7E87-53CC-23E22BE0CD49}"/>
          </ac:spMkLst>
        </pc:spChg>
        <pc:spChg chg="add mod">
          <ac:chgData name="Rienks, Rutger" userId="66af6280-af5f-4585-9380-ff89c9177423" providerId="ADAL" clId="{140DD42F-A2B8-4501-82CC-C11D0E6300B1}" dt="2026-03-06T21:00:54.344" v="611" actId="1076"/>
          <ac:spMkLst>
            <pc:docMk/>
            <pc:sldMk cId="0" sldId="5050"/>
            <ac:spMk id="21" creationId="{71F26BC6-E4E5-030A-75BB-B97E8A59C7F9}"/>
          </ac:spMkLst>
        </pc:spChg>
      </pc:sldChg>
      <pc:sldChg chg="addSp delSp modSp mod">
        <pc:chgData name="Rienks, Rutger" userId="66af6280-af5f-4585-9380-ff89c9177423" providerId="ADAL" clId="{140DD42F-A2B8-4501-82CC-C11D0E6300B1}" dt="2026-03-04T07:37:49.838" v="159" actId="1076"/>
        <pc:sldMkLst>
          <pc:docMk/>
          <pc:sldMk cId="0" sldId="5051"/>
        </pc:sldMkLst>
        <pc:spChg chg="add mod">
          <ac:chgData name="Rienks, Rutger" userId="66af6280-af5f-4585-9380-ff89c9177423" providerId="ADAL" clId="{140DD42F-A2B8-4501-82CC-C11D0E6300B1}" dt="2026-03-04T07:36:09.682" v="85" actId="1076"/>
          <ac:spMkLst>
            <pc:docMk/>
            <pc:sldMk cId="0" sldId="5051"/>
            <ac:spMk id="4" creationId="{0D4769AE-3EC5-A67D-171C-B9165367CBF8}"/>
          </ac:spMkLst>
        </pc:spChg>
        <pc:spChg chg="add mod">
          <ac:chgData name="Rienks, Rutger" userId="66af6280-af5f-4585-9380-ff89c9177423" providerId="ADAL" clId="{140DD42F-A2B8-4501-82CC-C11D0E6300B1}" dt="2026-03-04T07:36:09.682" v="85" actId="1076"/>
          <ac:spMkLst>
            <pc:docMk/>
            <pc:sldMk cId="0" sldId="5051"/>
            <ac:spMk id="24" creationId="{9622D777-BF2E-D2F6-B62F-5C0A6CD0AC19}"/>
          </ac:spMkLst>
        </pc:spChg>
        <pc:spChg chg="add mod">
          <ac:chgData name="Rienks, Rutger" userId="66af6280-af5f-4585-9380-ff89c9177423" providerId="ADAL" clId="{140DD42F-A2B8-4501-82CC-C11D0E6300B1}" dt="2026-03-04T07:36:09.682" v="85" actId="1076"/>
          <ac:spMkLst>
            <pc:docMk/>
            <pc:sldMk cId="0" sldId="5051"/>
            <ac:spMk id="25" creationId="{92D020FE-5E69-6AD4-B262-987513D96DBD}"/>
          </ac:spMkLst>
        </pc:spChg>
        <pc:spChg chg="add mod">
          <ac:chgData name="Rienks, Rutger" userId="66af6280-af5f-4585-9380-ff89c9177423" providerId="ADAL" clId="{140DD42F-A2B8-4501-82CC-C11D0E6300B1}" dt="2026-03-04T07:36:09.682" v="85" actId="1076"/>
          <ac:spMkLst>
            <pc:docMk/>
            <pc:sldMk cId="0" sldId="5051"/>
            <ac:spMk id="26" creationId="{AFF2B296-5342-3DDC-7701-C77B485C5BA6}"/>
          </ac:spMkLst>
        </pc:spChg>
        <pc:spChg chg="add mod">
          <ac:chgData name="Rienks, Rutger" userId="66af6280-af5f-4585-9380-ff89c9177423" providerId="ADAL" clId="{140DD42F-A2B8-4501-82CC-C11D0E6300B1}" dt="2026-03-04T07:36:09.682" v="85" actId="1076"/>
          <ac:spMkLst>
            <pc:docMk/>
            <pc:sldMk cId="0" sldId="5051"/>
            <ac:spMk id="27" creationId="{766FD445-335B-A540-A6F2-EB5A79F15C6A}"/>
          </ac:spMkLst>
        </pc:spChg>
        <pc:spChg chg="add mod">
          <ac:chgData name="Rienks, Rutger" userId="66af6280-af5f-4585-9380-ff89c9177423" providerId="ADAL" clId="{140DD42F-A2B8-4501-82CC-C11D0E6300B1}" dt="2026-03-04T07:36:09.682" v="85" actId="1076"/>
          <ac:spMkLst>
            <pc:docMk/>
            <pc:sldMk cId="0" sldId="5051"/>
            <ac:spMk id="29" creationId="{0618CFBA-E40B-35DF-58FC-BBF3CC4F6389}"/>
          </ac:spMkLst>
        </pc:spChg>
        <pc:spChg chg="add mod">
          <ac:chgData name="Rienks, Rutger" userId="66af6280-af5f-4585-9380-ff89c9177423" providerId="ADAL" clId="{140DD42F-A2B8-4501-82CC-C11D0E6300B1}" dt="2026-03-04T07:37:49.838" v="159" actId="1076"/>
          <ac:spMkLst>
            <pc:docMk/>
            <pc:sldMk cId="0" sldId="5051"/>
            <ac:spMk id="33" creationId="{6D74E75B-05DF-EF3B-09DE-B72AFA529DDD}"/>
          </ac:spMkLst>
        </pc:spChg>
        <pc:spChg chg="add mod">
          <ac:chgData name="Rienks, Rutger" userId="66af6280-af5f-4585-9380-ff89c9177423" providerId="ADAL" clId="{140DD42F-A2B8-4501-82CC-C11D0E6300B1}" dt="2026-03-04T07:36:29.525" v="98" actId="207"/>
          <ac:spMkLst>
            <pc:docMk/>
            <pc:sldMk cId="0" sldId="5051"/>
            <ac:spMk id="40" creationId="{C9FA715E-CA1E-36AF-6A82-3C870B511104}"/>
          </ac:spMkLst>
        </pc:spChg>
        <pc:spChg chg="mod">
          <ac:chgData name="Rienks, Rutger" userId="66af6280-af5f-4585-9380-ff89c9177423" providerId="ADAL" clId="{140DD42F-A2B8-4501-82CC-C11D0E6300B1}" dt="2026-03-04T07:36:35.262" v="104"/>
          <ac:spMkLst>
            <pc:docMk/>
            <pc:sldMk cId="0" sldId="5051"/>
            <ac:spMk id="42" creationId="{055A47B1-5004-E0A3-8338-3B59B153395E}"/>
          </ac:spMkLst>
        </pc:spChg>
        <pc:spChg chg="mod">
          <ac:chgData name="Rienks, Rutger" userId="66af6280-af5f-4585-9380-ff89c9177423" providerId="ADAL" clId="{140DD42F-A2B8-4501-82CC-C11D0E6300B1}" dt="2026-03-04T07:36:39.441" v="120"/>
          <ac:spMkLst>
            <pc:docMk/>
            <pc:sldMk cId="0" sldId="5051"/>
            <ac:spMk id="46" creationId="{20C717B5-B37D-33FE-60F4-CF1D4CE7A8A6}"/>
          </ac:spMkLst>
        </pc:spChg>
        <pc:spChg chg="mod">
          <ac:chgData name="Rienks, Rutger" userId="66af6280-af5f-4585-9380-ff89c9177423" providerId="ADAL" clId="{140DD42F-A2B8-4501-82CC-C11D0E6300B1}" dt="2026-03-04T07:36:42.705" v="126"/>
          <ac:spMkLst>
            <pc:docMk/>
            <pc:sldMk cId="0" sldId="5051"/>
            <ac:spMk id="48" creationId="{D938951F-B65D-7AF8-8C9D-42F8E9A8F6F6}"/>
          </ac:spMkLst>
        </pc:spChg>
        <pc:spChg chg="add mod">
          <ac:chgData name="Rienks, Rutger" userId="66af6280-af5f-4585-9380-ff89c9177423" providerId="ADAL" clId="{140DD42F-A2B8-4501-82CC-C11D0E6300B1}" dt="2026-03-04T07:36:20.747" v="86"/>
          <ac:spMkLst>
            <pc:docMk/>
            <pc:sldMk cId="0" sldId="5051"/>
            <ac:spMk id="50" creationId="{A5CA3A36-82BB-36D1-C4CC-6D22A404BA16}"/>
          </ac:spMkLst>
        </pc:spChg>
        <pc:picChg chg="mod">
          <ac:chgData name="Rienks, Rutger" userId="66af6280-af5f-4585-9380-ff89c9177423" providerId="ADAL" clId="{140DD42F-A2B8-4501-82CC-C11D0E6300B1}" dt="2026-03-04T07:36:35.283" v="109" actId="207"/>
          <ac:picMkLst>
            <pc:docMk/>
            <pc:sldMk cId="0" sldId="5051"/>
            <ac:picMk id="43" creationId="{C09B40EF-9465-6E92-08D6-6D2B51A04C49}"/>
          </ac:picMkLst>
        </pc:picChg>
        <pc:picChg chg="mod">
          <ac:chgData name="Rienks, Rutger" userId="66af6280-af5f-4585-9380-ff89c9177423" providerId="ADAL" clId="{140DD42F-A2B8-4501-82CC-C11D0E6300B1}" dt="2026-03-04T07:36:39.441" v="114" actId="207"/>
          <ac:picMkLst>
            <pc:docMk/>
            <pc:sldMk cId="0" sldId="5051"/>
            <ac:picMk id="45" creationId="{574D5FF0-488C-8054-73AA-E0BFF87D4018}"/>
          </ac:picMkLst>
        </pc:picChg>
        <pc:picChg chg="mod">
          <ac:chgData name="Rienks, Rutger" userId="66af6280-af5f-4585-9380-ff89c9177423" providerId="ADAL" clId="{140DD42F-A2B8-4501-82CC-C11D0E6300B1}" dt="2026-03-04T07:36:42.726" v="131" actId="207"/>
          <ac:picMkLst>
            <pc:docMk/>
            <pc:sldMk cId="0" sldId="5051"/>
            <ac:picMk id="49" creationId="{7F3FA1FA-D80E-513E-D867-63A786BE4DE6}"/>
          </ac:picMkLst>
        </pc:picChg>
        <pc:cxnChg chg="mod">
          <ac:chgData name="Rienks, Rutger" userId="66af6280-af5f-4585-9380-ff89c9177423" providerId="ADAL" clId="{140DD42F-A2B8-4501-82CC-C11D0E6300B1}" dt="2026-03-04T07:36:57.985" v="143" actId="208"/>
          <ac:cxnSpMkLst>
            <pc:docMk/>
            <pc:sldMk cId="0" sldId="5051"/>
            <ac:cxnSpMk id="30" creationId="{74BBC348-1729-0551-EF6C-E87FDD901845}"/>
          </ac:cxnSpMkLst>
        </pc:cxnChg>
        <pc:cxnChg chg="mod">
          <ac:chgData name="Rienks, Rutger" userId="66af6280-af5f-4585-9380-ff89c9177423" providerId="ADAL" clId="{140DD42F-A2B8-4501-82CC-C11D0E6300B1}" dt="2026-03-04T07:36:53.442" v="137" actId="208"/>
          <ac:cxnSpMkLst>
            <pc:docMk/>
            <pc:sldMk cId="0" sldId="5051"/>
            <ac:cxnSpMk id="31" creationId="{EAC93A7C-D07A-2972-0A2F-2A7E5D10FA14}"/>
          </ac:cxnSpMkLst>
        </pc:cxnChg>
        <pc:cxnChg chg="mod">
          <ac:chgData name="Rienks, Rutger" userId="66af6280-af5f-4585-9380-ff89c9177423" providerId="ADAL" clId="{140DD42F-A2B8-4501-82CC-C11D0E6300B1}" dt="2026-03-04T07:37:01.779" v="149" actId="208"/>
          <ac:cxnSpMkLst>
            <pc:docMk/>
            <pc:sldMk cId="0" sldId="5051"/>
            <ac:cxnSpMk id="32" creationId="{7999F4E1-C882-4FCC-CE3C-64E99101AFAF}"/>
          </ac:cxnSpMkLst>
        </pc:cxnChg>
      </pc:sldChg>
      <pc:sldChg chg="delSp modSp mod">
        <pc:chgData name="Rienks, Rutger" userId="66af6280-af5f-4585-9380-ff89c9177423" providerId="ADAL" clId="{140DD42F-A2B8-4501-82CC-C11D0E6300B1}" dt="2026-03-06T21:38:12.229" v="861" actId="20577"/>
        <pc:sldMkLst>
          <pc:docMk/>
          <pc:sldMk cId="0" sldId="5052"/>
        </pc:sldMkLst>
        <pc:spChg chg="mod">
          <ac:chgData name="Rienks, Rutger" userId="66af6280-af5f-4585-9380-ff89c9177423" providerId="ADAL" clId="{140DD42F-A2B8-4501-82CC-C11D0E6300B1}" dt="2026-03-06T21:38:12.229" v="861" actId="20577"/>
          <ac:spMkLst>
            <pc:docMk/>
            <pc:sldMk cId="0" sldId="5052"/>
            <ac:spMk id="2" creationId="{3E67FFA0-6F26-9664-7CA2-A3ACA34040BB}"/>
          </ac:spMkLst>
        </pc:spChg>
        <pc:spChg chg="mod">
          <ac:chgData name="Rienks, Rutger" userId="66af6280-af5f-4585-9380-ff89c9177423" providerId="ADAL" clId="{140DD42F-A2B8-4501-82CC-C11D0E6300B1}" dt="2026-03-06T21:37:49.872" v="839" actId="114"/>
          <ac:spMkLst>
            <pc:docMk/>
            <pc:sldMk cId="0" sldId="5052"/>
            <ac:spMk id="3" creationId="{D346398F-DB54-51FE-3768-0F41C5AAAAEE}"/>
          </ac:spMkLst>
        </pc:spChg>
        <pc:spChg chg="mod">
          <ac:chgData name="Rienks, Rutger" userId="66af6280-af5f-4585-9380-ff89c9177423" providerId="ADAL" clId="{140DD42F-A2B8-4501-82CC-C11D0E6300B1}" dt="2026-03-04T07:40:37.755" v="164" actId="113"/>
          <ac:spMkLst>
            <pc:docMk/>
            <pc:sldMk cId="0" sldId="5052"/>
            <ac:spMk id="10" creationId="{5D292E1B-8161-4CAD-EDF7-EB69F882014A}"/>
          </ac:spMkLst>
        </pc:spChg>
        <pc:spChg chg="mod">
          <ac:chgData name="Rienks, Rutger" userId="66af6280-af5f-4585-9380-ff89c9177423" providerId="ADAL" clId="{140DD42F-A2B8-4501-82CC-C11D0E6300B1}" dt="2026-03-04T07:40:48.131" v="165" actId="113"/>
          <ac:spMkLst>
            <pc:docMk/>
            <pc:sldMk cId="0" sldId="5052"/>
            <ac:spMk id="11" creationId="{263DDB41-50B3-61FC-1E17-8C640862384C}"/>
          </ac:spMkLst>
        </pc:spChg>
      </pc:sldChg>
      <pc:sldChg chg="del">
        <pc:chgData name="Rienks, Rutger" userId="66af6280-af5f-4585-9380-ff89c9177423" providerId="ADAL" clId="{140DD42F-A2B8-4501-82CC-C11D0E6300B1}" dt="2026-03-04T07:41:06.901" v="166" actId="47"/>
        <pc:sldMkLst>
          <pc:docMk/>
          <pc:sldMk cId="0" sldId="5053"/>
        </pc:sldMkLst>
      </pc:sldChg>
      <pc:sldChg chg="modSp del mod">
        <pc:chgData name="Rienks, Rutger" userId="66af6280-af5f-4585-9380-ff89c9177423" providerId="ADAL" clId="{140DD42F-A2B8-4501-82CC-C11D0E6300B1}" dt="2026-03-04T07:41:17.278" v="167" actId="47"/>
        <pc:sldMkLst>
          <pc:docMk/>
          <pc:sldMk cId="0" sldId="5054"/>
        </pc:sldMkLst>
      </pc:sldChg>
      <pc:sldChg chg="modSp del mod">
        <pc:chgData name="Rienks, Rutger" userId="66af6280-af5f-4585-9380-ff89c9177423" providerId="ADAL" clId="{140DD42F-A2B8-4501-82CC-C11D0E6300B1}" dt="2026-03-04T07:58:35.074" v="240" actId="47"/>
        <pc:sldMkLst>
          <pc:docMk/>
          <pc:sldMk cId="0" sldId="5055"/>
        </pc:sldMkLst>
      </pc:sldChg>
      <pc:sldChg chg="modSp del mod">
        <pc:chgData name="Rienks, Rutger" userId="66af6280-af5f-4585-9380-ff89c9177423" providerId="ADAL" clId="{140DD42F-A2B8-4501-82CC-C11D0E6300B1}" dt="2026-03-04T07:58:37.103" v="241" actId="47"/>
        <pc:sldMkLst>
          <pc:docMk/>
          <pc:sldMk cId="0" sldId="5056"/>
        </pc:sldMkLst>
      </pc:sldChg>
      <pc:sldChg chg="del">
        <pc:chgData name="Rienks, Rutger" userId="66af6280-af5f-4585-9380-ff89c9177423" providerId="ADAL" clId="{140DD42F-A2B8-4501-82CC-C11D0E6300B1}" dt="2026-03-04T07:58:43.487" v="242" actId="47"/>
        <pc:sldMkLst>
          <pc:docMk/>
          <pc:sldMk cId="0" sldId="5057"/>
        </pc:sldMkLst>
      </pc:sldChg>
      <pc:sldChg chg="del">
        <pc:chgData name="Rienks, Rutger" userId="66af6280-af5f-4585-9380-ff89c9177423" providerId="ADAL" clId="{140DD42F-A2B8-4501-82CC-C11D0E6300B1}" dt="2026-03-04T07:58:47.907" v="243" actId="47"/>
        <pc:sldMkLst>
          <pc:docMk/>
          <pc:sldMk cId="0" sldId="5058"/>
        </pc:sldMkLst>
      </pc:sldChg>
      <pc:sldChg chg="del">
        <pc:chgData name="Rienks, Rutger" userId="66af6280-af5f-4585-9380-ff89c9177423" providerId="ADAL" clId="{140DD42F-A2B8-4501-82CC-C11D0E6300B1}" dt="2026-03-04T07:58:52.751" v="244" actId="47"/>
        <pc:sldMkLst>
          <pc:docMk/>
          <pc:sldMk cId="0" sldId="5059"/>
        </pc:sldMkLst>
      </pc:sldChg>
      <pc:sldChg chg="modSp del mod">
        <pc:chgData name="Rienks, Rutger" userId="66af6280-af5f-4585-9380-ff89c9177423" providerId="ADAL" clId="{140DD42F-A2B8-4501-82CC-C11D0E6300B1}" dt="2026-03-04T07:58:52.751" v="244" actId="47"/>
        <pc:sldMkLst>
          <pc:docMk/>
          <pc:sldMk cId="0" sldId="5060"/>
        </pc:sldMkLst>
      </pc:sldChg>
      <pc:sldChg chg="modSp del mod">
        <pc:chgData name="Rienks, Rutger" userId="66af6280-af5f-4585-9380-ff89c9177423" providerId="ADAL" clId="{140DD42F-A2B8-4501-82CC-C11D0E6300B1}" dt="2026-03-04T07:51:50.790" v="206" actId="47"/>
        <pc:sldMkLst>
          <pc:docMk/>
          <pc:sldMk cId="0" sldId="5061"/>
        </pc:sldMkLst>
      </pc:sldChg>
      <pc:sldChg chg="addSp delSp modSp mod ord">
        <pc:chgData name="Rienks, Rutger" userId="66af6280-af5f-4585-9380-ff89c9177423" providerId="ADAL" clId="{140DD42F-A2B8-4501-82CC-C11D0E6300B1}" dt="2026-03-06T21:14:45.839" v="622" actId="1076"/>
        <pc:sldMkLst>
          <pc:docMk/>
          <pc:sldMk cId="0" sldId="5062"/>
        </pc:sldMkLst>
        <pc:picChg chg="del">
          <ac:chgData name="Rienks, Rutger" userId="66af6280-af5f-4585-9380-ff89c9177423" providerId="ADAL" clId="{140DD42F-A2B8-4501-82CC-C11D0E6300B1}" dt="2026-03-06T21:01:58.172" v="620" actId="478"/>
          <ac:picMkLst>
            <pc:docMk/>
            <pc:sldMk cId="0" sldId="5062"/>
            <ac:picMk id="4" creationId="{00000000-0000-0000-0000-000000000000}"/>
          </ac:picMkLst>
        </pc:picChg>
        <pc:picChg chg="add mod">
          <ac:chgData name="Rienks, Rutger" userId="66af6280-af5f-4585-9380-ff89c9177423" providerId="ADAL" clId="{140DD42F-A2B8-4501-82CC-C11D0E6300B1}" dt="2026-03-06T21:14:45.839" v="622" actId="1076"/>
          <ac:picMkLst>
            <pc:docMk/>
            <pc:sldMk cId="0" sldId="5062"/>
            <ac:picMk id="7" creationId="{EEB24A7D-B74B-C169-BA97-12BB22034C22}"/>
          </ac:picMkLst>
        </pc:picChg>
      </pc:sldChg>
      <pc:sldChg chg="modSp del mod">
        <pc:chgData name="Rienks, Rutger" userId="66af6280-af5f-4585-9380-ff89c9177423" providerId="ADAL" clId="{140DD42F-A2B8-4501-82CC-C11D0E6300B1}" dt="2026-03-04T07:52:40.640" v="211" actId="47"/>
        <pc:sldMkLst>
          <pc:docMk/>
          <pc:sldMk cId="0" sldId="5063"/>
        </pc:sldMkLst>
      </pc:sldChg>
      <pc:sldChg chg="modSp del mod">
        <pc:chgData name="Rienks, Rutger" userId="66af6280-af5f-4585-9380-ff89c9177423" providerId="ADAL" clId="{140DD42F-A2B8-4501-82CC-C11D0E6300B1}" dt="2026-03-04T07:52:40.640" v="211" actId="47"/>
        <pc:sldMkLst>
          <pc:docMk/>
          <pc:sldMk cId="0" sldId="5064"/>
        </pc:sldMkLst>
      </pc:sldChg>
      <pc:sldChg chg="modSp del mod">
        <pc:chgData name="Rienks, Rutger" userId="66af6280-af5f-4585-9380-ff89c9177423" providerId="ADAL" clId="{140DD42F-A2B8-4501-82CC-C11D0E6300B1}" dt="2026-03-04T07:52:40.640" v="211" actId="47"/>
        <pc:sldMkLst>
          <pc:docMk/>
          <pc:sldMk cId="0" sldId="5065"/>
        </pc:sldMkLst>
      </pc:sldChg>
      <pc:sldChg chg="modSp del mod">
        <pc:chgData name="Rienks, Rutger" userId="66af6280-af5f-4585-9380-ff89c9177423" providerId="ADAL" clId="{140DD42F-A2B8-4501-82CC-C11D0E6300B1}" dt="2026-03-04T07:52:40.640" v="211" actId="47"/>
        <pc:sldMkLst>
          <pc:docMk/>
          <pc:sldMk cId="0" sldId="5066"/>
        </pc:sldMkLst>
      </pc:sldChg>
      <pc:sldChg chg="del">
        <pc:chgData name="Rienks, Rutger" userId="66af6280-af5f-4585-9380-ff89c9177423" providerId="ADAL" clId="{140DD42F-A2B8-4501-82CC-C11D0E6300B1}" dt="2026-03-04T07:52:44.606" v="212" actId="47"/>
        <pc:sldMkLst>
          <pc:docMk/>
          <pc:sldMk cId="0" sldId="5067"/>
        </pc:sldMkLst>
      </pc:sldChg>
      <pc:sldChg chg="del">
        <pc:chgData name="Rienks, Rutger" userId="66af6280-af5f-4585-9380-ff89c9177423" providerId="ADAL" clId="{140DD42F-A2B8-4501-82CC-C11D0E6300B1}" dt="2026-03-04T07:41:30.307" v="169" actId="47"/>
        <pc:sldMkLst>
          <pc:docMk/>
          <pc:sldMk cId="0" sldId="5068"/>
        </pc:sldMkLst>
      </pc:sldChg>
      <pc:sldChg chg="new del">
        <pc:chgData name="Rienks, Rutger" userId="66af6280-af5f-4585-9380-ff89c9177423" providerId="ADAL" clId="{140DD42F-A2B8-4501-82CC-C11D0E6300B1}" dt="2026-03-04T07:47:43.823" v="172" actId="47"/>
        <pc:sldMkLst>
          <pc:docMk/>
          <pc:sldMk cId="2460864589" sldId="5068"/>
        </pc:sldMkLst>
      </pc:sldChg>
      <pc:sldChg chg="del">
        <pc:chgData name="Rienks, Rutger" userId="66af6280-af5f-4585-9380-ff89c9177423" providerId="ADAL" clId="{140DD42F-A2B8-4501-82CC-C11D0E6300B1}" dt="2026-03-04T07:41:27.463" v="168" actId="47"/>
        <pc:sldMkLst>
          <pc:docMk/>
          <pc:sldMk cId="0" sldId="5069"/>
        </pc:sldMkLst>
      </pc:sldChg>
      <pc:sldChg chg="addSp modSp add mod modTransition">
        <pc:chgData name="Rienks, Rutger" userId="66af6280-af5f-4585-9380-ff89c9177423" providerId="ADAL" clId="{140DD42F-A2B8-4501-82CC-C11D0E6300B1}" dt="2026-03-06T21:37:12.486" v="835" actId="20577"/>
        <pc:sldMkLst>
          <pc:docMk/>
          <pc:sldMk cId="3557874296" sldId="2147483494"/>
        </pc:sldMkLst>
        <pc:spChg chg="mod">
          <ac:chgData name="Rienks, Rutger" userId="66af6280-af5f-4585-9380-ff89c9177423" providerId="ADAL" clId="{140DD42F-A2B8-4501-82CC-C11D0E6300B1}" dt="2026-03-04T07:48:24.067" v="203" actId="20577"/>
          <ac:spMkLst>
            <pc:docMk/>
            <pc:sldMk cId="3557874296" sldId="2147483494"/>
            <ac:spMk id="7" creationId="{4657A989-153C-443D-8BB2-5456DD860253}"/>
          </ac:spMkLst>
        </pc:spChg>
        <pc:spChg chg="add mod">
          <ac:chgData name="Rienks, Rutger" userId="66af6280-af5f-4585-9380-ff89c9177423" providerId="ADAL" clId="{140DD42F-A2B8-4501-82CC-C11D0E6300B1}" dt="2026-03-04T07:48:54.594" v="205" actId="207"/>
          <ac:spMkLst>
            <pc:docMk/>
            <pc:sldMk cId="3557874296" sldId="2147483494"/>
            <ac:spMk id="8" creationId="{B27A052A-D694-577D-9507-1DD4FE5D4347}"/>
          </ac:spMkLst>
        </pc:spChg>
        <pc:spChg chg="mod">
          <ac:chgData name="Rienks, Rutger" userId="66af6280-af5f-4585-9380-ff89c9177423" providerId="ADAL" clId="{140DD42F-A2B8-4501-82CC-C11D0E6300B1}" dt="2026-03-06T21:37:12.486" v="835" actId="20577"/>
          <ac:spMkLst>
            <pc:docMk/>
            <pc:sldMk cId="3557874296" sldId="2147483494"/>
            <ac:spMk id="9" creationId="{E09550DF-6F48-B1CF-5BF8-BA3F653E16BC}"/>
          </ac:spMkLst>
        </pc:spChg>
        <pc:spChg chg="mod">
          <ac:chgData name="Rienks, Rutger" userId="66af6280-af5f-4585-9380-ff89c9177423" providerId="ADAL" clId="{140DD42F-A2B8-4501-82CC-C11D0E6300B1}" dt="2026-03-04T07:47:55.120" v="184" actId="207"/>
          <ac:spMkLst>
            <pc:docMk/>
            <pc:sldMk cId="3557874296" sldId="2147483494"/>
            <ac:spMk id="20" creationId="{5103E7E0-115A-3AE9-D33A-D13237B272E3}"/>
          </ac:spMkLst>
        </pc:spChg>
        <pc:spChg chg="mod">
          <ac:chgData name="Rienks, Rutger" userId="66af6280-af5f-4585-9380-ff89c9177423" providerId="ADAL" clId="{140DD42F-A2B8-4501-82CC-C11D0E6300B1}" dt="2026-03-04T07:48:00.054" v="190" actId="207"/>
          <ac:spMkLst>
            <pc:docMk/>
            <pc:sldMk cId="3557874296" sldId="2147483494"/>
            <ac:spMk id="22" creationId="{B775D6C9-0596-44F3-E066-1807B1255797}"/>
          </ac:spMkLst>
        </pc:spChg>
        <pc:spChg chg="mod">
          <ac:chgData name="Rienks, Rutger" userId="66af6280-af5f-4585-9380-ff89c9177423" providerId="ADAL" clId="{140DD42F-A2B8-4501-82CC-C11D0E6300B1}" dt="2026-03-04T07:47:49.627" v="178" actId="207"/>
          <ac:spMkLst>
            <pc:docMk/>
            <pc:sldMk cId="3557874296" sldId="2147483494"/>
            <ac:spMk id="32" creationId="{33CAE179-2965-4FBC-9C94-5EBB6B1EEDCE}"/>
          </ac:spMkLst>
        </pc:spChg>
        <pc:spChg chg="mod">
          <ac:chgData name="Rienks, Rutger" userId="66af6280-af5f-4585-9380-ff89c9177423" providerId="ADAL" clId="{140DD42F-A2B8-4501-82CC-C11D0E6300B1}" dt="2026-03-04T07:48:05.836" v="196" actId="207"/>
          <ac:spMkLst>
            <pc:docMk/>
            <pc:sldMk cId="3557874296" sldId="2147483494"/>
            <ac:spMk id="39" creationId="{53AB500C-8F74-02F1-5683-3CD0F89DC1A7}"/>
          </ac:spMkLst>
        </pc:spChg>
        <pc:spChg chg="mod">
          <ac:chgData name="Rienks, Rutger" userId="66af6280-af5f-4585-9380-ff89c9177423" providerId="ADAL" clId="{140DD42F-A2B8-4501-82CC-C11D0E6300B1}" dt="2026-03-04T07:48:13.754" v="201" actId="207"/>
          <ac:spMkLst>
            <pc:docMk/>
            <pc:sldMk cId="3557874296" sldId="2147483494"/>
            <ac:spMk id="55" creationId="{F95FB315-0B83-4EE6-3E6B-3ED3E604FFD3}"/>
          </ac:spMkLst>
        </pc:spChg>
      </pc:sldChg>
      <pc:sldChg chg="addSp delSp modSp new mod">
        <pc:chgData name="Rienks, Rutger" userId="66af6280-af5f-4585-9380-ff89c9177423" providerId="ADAL" clId="{140DD42F-A2B8-4501-82CC-C11D0E6300B1}" dt="2026-03-06T21:24:58.523" v="685" actId="1076"/>
        <pc:sldMkLst>
          <pc:docMk/>
          <pc:sldMk cId="3872162738" sldId="2147483495"/>
        </pc:sldMkLst>
        <pc:spChg chg="add mod">
          <ac:chgData name="Rienks, Rutger" userId="66af6280-af5f-4585-9380-ff89c9177423" providerId="ADAL" clId="{140DD42F-A2B8-4501-82CC-C11D0E6300B1}" dt="2026-03-06T21:17:09.620" v="641" actId="1076"/>
          <ac:spMkLst>
            <pc:docMk/>
            <pc:sldMk cId="3872162738" sldId="2147483495"/>
            <ac:spMk id="2" creationId="{BF0BC338-EF05-4227-0092-6328823913DC}"/>
          </ac:spMkLst>
        </pc:spChg>
        <pc:spChg chg="mod">
          <ac:chgData name="Rienks, Rutger" userId="66af6280-af5f-4585-9380-ff89c9177423" providerId="ADAL" clId="{140DD42F-A2B8-4501-82CC-C11D0E6300B1}" dt="2026-03-04T07:54:18.489" v="214"/>
          <ac:spMkLst>
            <pc:docMk/>
            <pc:sldMk cId="3872162738" sldId="2147483495"/>
            <ac:spMk id="4" creationId="{67EC600B-B0BD-E0CB-4E7B-1373952A7E21}"/>
          </ac:spMkLst>
        </pc:spChg>
        <pc:spChg chg="mod">
          <ac:chgData name="Rienks, Rutger" userId="66af6280-af5f-4585-9380-ff89c9177423" providerId="ADAL" clId="{140DD42F-A2B8-4501-82CC-C11D0E6300B1}" dt="2026-03-06T21:16:59.595" v="640" actId="1076"/>
          <ac:spMkLst>
            <pc:docMk/>
            <pc:sldMk cId="3872162738" sldId="2147483495"/>
            <ac:spMk id="5" creationId="{DB740B15-FAE2-BC60-237B-D6B0778EAE2D}"/>
          </ac:spMkLst>
        </pc:spChg>
        <pc:spChg chg="mod">
          <ac:chgData name="Rienks, Rutger" userId="66af6280-af5f-4585-9380-ff89c9177423" providerId="ADAL" clId="{140DD42F-A2B8-4501-82CC-C11D0E6300B1}" dt="2026-03-04T07:54:18.489" v="214"/>
          <ac:spMkLst>
            <pc:docMk/>
            <pc:sldMk cId="3872162738" sldId="2147483495"/>
            <ac:spMk id="7" creationId="{E517D1EE-F046-3710-6635-A8206E4D93CB}"/>
          </ac:spMkLst>
        </pc:spChg>
        <pc:spChg chg="mod">
          <ac:chgData name="Rienks, Rutger" userId="66af6280-af5f-4585-9380-ff89c9177423" providerId="ADAL" clId="{140DD42F-A2B8-4501-82CC-C11D0E6300B1}" dt="2026-03-04T07:54:18.489" v="214"/>
          <ac:spMkLst>
            <pc:docMk/>
            <pc:sldMk cId="3872162738" sldId="2147483495"/>
            <ac:spMk id="10" creationId="{D1CD66F9-EC6B-2663-06A9-5AE97F22155E}"/>
          </ac:spMkLst>
        </pc:spChg>
        <pc:spChg chg="add mod">
          <ac:chgData name="Rienks, Rutger" userId="66af6280-af5f-4585-9380-ff89c9177423" providerId="ADAL" clId="{140DD42F-A2B8-4501-82CC-C11D0E6300B1}" dt="2026-03-06T21:17:09.620" v="641" actId="1076"/>
          <ac:spMkLst>
            <pc:docMk/>
            <pc:sldMk cId="3872162738" sldId="2147483495"/>
            <ac:spMk id="12" creationId="{1B963731-6698-B077-CB2A-FED960A1C697}"/>
          </ac:spMkLst>
        </pc:spChg>
        <pc:spChg chg="add mod">
          <ac:chgData name="Rienks, Rutger" userId="66af6280-af5f-4585-9380-ff89c9177423" providerId="ADAL" clId="{140DD42F-A2B8-4501-82CC-C11D0E6300B1}" dt="2026-03-06T21:17:09.620" v="641" actId="1076"/>
          <ac:spMkLst>
            <pc:docMk/>
            <pc:sldMk cId="3872162738" sldId="2147483495"/>
            <ac:spMk id="13" creationId="{3B5C6C41-774A-6958-90C6-AB45987A591C}"/>
          </ac:spMkLst>
        </pc:spChg>
        <pc:spChg chg="add mod">
          <ac:chgData name="Rienks, Rutger" userId="66af6280-af5f-4585-9380-ff89c9177423" providerId="ADAL" clId="{140DD42F-A2B8-4501-82CC-C11D0E6300B1}" dt="2026-03-06T21:16:06.777" v="630" actId="1076"/>
          <ac:spMkLst>
            <pc:docMk/>
            <pc:sldMk cId="3872162738" sldId="2147483495"/>
            <ac:spMk id="17" creationId="{CE1F69C2-FE3A-4D94-E6B5-FF5C7E109E1C}"/>
          </ac:spMkLst>
        </pc:spChg>
        <pc:spChg chg="add del mod">
          <ac:chgData name="Rienks, Rutger" userId="66af6280-af5f-4585-9380-ff89c9177423" providerId="ADAL" clId="{140DD42F-A2B8-4501-82CC-C11D0E6300B1}" dt="2026-03-06T21:24:45.745" v="683" actId="478"/>
          <ac:spMkLst>
            <pc:docMk/>
            <pc:sldMk cId="3872162738" sldId="2147483495"/>
            <ac:spMk id="18" creationId="{BF43FFB1-6495-17CE-026E-609BCD68056A}"/>
          </ac:spMkLst>
        </pc:spChg>
        <pc:spChg chg="add del mod">
          <ac:chgData name="Rienks, Rutger" userId="66af6280-af5f-4585-9380-ff89c9177423" providerId="ADAL" clId="{140DD42F-A2B8-4501-82CC-C11D0E6300B1}" dt="2026-03-06T21:24:46.858" v="684" actId="478"/>
          <ac:spMkLst>
            <pc:docMk/>
            <pc:sldMk cId="3872162738" sldId="2147483495"/>
            <ac:spMk id="19" creationId="{A7BEFF33-6476-E87B-0E07-03C1077C5401}"/>
          </ac:spMkLst>
        </pc:spChg>
        <pc:spChg chg="add mod">
          <ac:chgData name="Rienks, Rutger" userId="66af6280-af5f-4585-9380-ff89c9177423" providerId="ADAL" clId="{140DD42F-A2B8-4501-82CC-C11D0E6300B1}" dt="2026-03-06T21:16:51.822" v="638" actId="207"/>
          <ac:spMkLst>
            <pc:docMk/>
            <pc:sldMk cId="3872162738" sldId="2147483495"/>
            <ac:spMk id="21" creationId="{45BC94D8-D3E1-F030-C63A-D0B5DA3A30C8}"/>
          </ac:spMkLst>
        </pc:spChg>
        <pc:spChg chg="mod">
          <ac:chgData name="Rienks, Rutger" userId="66af6280-af5f-4585-9380-ff89c9177423" providerId="ADAL" clId="{140DD42F-A2B8-4501-82CC-C11D0E6300B1}" dt="2026-03-06T21:24:27.763" v="678"/>
          <ac:spMkLst>
            <pc:docMk/>
            <pc:sldMk cId="3872162738" sldId="2147483495"/>
            <ac:spMk id="23" creationId="{A036AF38-3F45-6149-D62E-144E5F2CE1C6}"/>
          </ac:spMkLst>
        </pc:spChg>
        <pc:spChg chg="mod">
          <ac:chgData name="Rienks, Rutger" userId="66af6280-af5f-4585-9380-ff89c9177423" providerId="ADAL" clId="{140DD42F-A2B8-4501-82CC-C11D0E6300B1}" dt="2026-03-06T21:24:41.342" v="682" actId="20577"/>
          <ac:spMkLst>
            <pc:docMk/>
            <pc:sldMk cId="3872162738" sldId="2147483495"/>
            <ac:spMk id="24" creationId="{7AB6901F-65A3-36E3-27F0-5FFBB0EF9D3B}"/>
          </ac:spMkLst>
        </pc:spChg>
        <pc:spChg chg="mod">
          <ac:chgData name="Rienks, Rutger" userId="66af6280-af5f-4585-9380-ff89c9177423" providerId="ADAL" clId="{140DD42F-A2B8-4501-82CC-C11D0E6300B1}" dt="2026-03-06T21:24:27.763" v="678"/>
          <ac:spMkLst>
            <pc:docMk/>
            <pc:sldMk cId="3872162738" sldId="2147483495"/>
            <ac:spMk id="26" creationId="{A5D99A27-EAE4-4042-2751-32B88064AC96}"/>
          </ac:spMkLst>
        </pc:spChg>
        <pc:spChg chg="mod">
          <ac:chgData name="Rienks, Rutger" userId="66af6280-af5f-4585-9380-ff89c9177423" providerId="ADAL" clId="{140DD42F-A2B8-4501-82CC-C11D0E6300B1}" dt="2026-03-06T21:24:27.763" v="678"/>
          <ac:spMkLst>
            <pc:docMk/>
            <pc:sldMk cId="3872162738" sldId="2147483495"/>
            <ac:spMk id="27" creationId="{13A9622C-F9C3-4260-D8AB-D5308F85967F}"/>
          </ac:spMkLst>
        </pc:spChg>
        <pc:spChg chg="mod">
          <ac:chgData name="Rienks, Rutger" userId="66af6280-af5f-4585-9380-ff89c9177423" providerId="ADAL" clId="{140DD42F-A2B8-4501-82CC-C11D0E6300B1}" dt="2026-03-06T21:24:27.763" v="678"/>
          <ac:spMkLst>
            <pc:docMk/>
            <pc:sldMk cId="3872162738" sldId="2147483495"/>
            <ac:spMk id="28" creationId="{1ED55875-4DF7-9EF8-5FDF-03E97717B9F3}"/>
          </ac:spMkLst>
        </pc:spChg>
        <pc:spChg chg="mod">
          <ac:chgData name="Rienks, Rutger" userId="66af6280-af5f-4585-9380-ff89c9177423" providerId="ADAL" clId="{140DD42F-A2B8-4501-82CC-C11D0E6300B1}" dt="2026-03-06T21:24:27.763" v="678"/>
          <ac:spMkLst>
            <pc:docMk/>
            <pc:sldMk cId="3872162738" sldId="2147483495"/>
            <ac:spMk id="29" creationId="{0D93AE61-7C07-2D4C-5EA9-71503668EB03}"/>
          </ac:spMkLst>
        </pc:spChg>
        <pc:spChg chg="mod">
          <ac:chgData name="Rienks, Rutger" userId="66af6280-af5f-4585-9380-ff89c9177423" providerId="ADAL" clId="{140DD42F-A2B8-4501-82CC-C11D0E6300B1}" dt="2026-03-06T21:24:27.763" v="678"/>
          <ac:spMkLst>
            <pc:docMk/>
            <pc:sldMk cId="3872162738" sldId="2147483495"/>
            <ac:spMk id="30" creationId="{4AF08E3F-10CE-E121-26A4-8A0FEC37BE1C}"/>
          </ac:spMkLst>
        </pc:spChg>
        <pc:grpChg chg="mod">
          <ac:chgData name="Rienks, Rutger" userId="66af6280-af5f-4585-9380-ff89c9177423" providerId="ADAL" clId="{140DD42F-A2B8-4501-82CC-C11D0E6300B1}" dt="2026-03-06T21:17:09.620" v="641" actId="1076"/>
          <ac:grpSpMkLst>
            <pc:docMk/>
            <pc:sldMk cId="3872162738" sldId="2147483495"/>
            <ac:grpSpMk id="3" creationId="{87B10A29-EBDB-586D-9EA5-28C87D432BBA}"/>
          </ac:grpSpMkLst>
        </pc:grpChg>
        <pc:grpChg chg="mod">
          <ac:chgData name="Rienks, Rutger" userId="66af6280-af5f-4585-9380-ff89c9177423" providerId="ADAL" clId="{140DD42F-A2B8-4501-82CC-C11D0E6300B1}" dt="2026-03-06T21:17:09.620" v="641" actId="1076"/>
          <ac:grpSpMkLst>
            <pc:docMk/>
            <pc:sldMk cId="3872162738" sldId="2147483495"/>
            <ac:grpSpMk id="6" creationId="{6E09D130-EC4D-063B-7BD3-14252F31CB38}"/>
          </ac:grpSpMkLst>
        </pc:grpChg>
        <pc:grpChg chg="mod">
          <ac:chgData name="Rienks, Rutger" userId="66af6280-af5f-4585-9380-ff89c9177423" providerId="ADAL" clId="{140DD42F-A2B8-4501-82CC-C11D0E6300B1}" dt="2026-03-06T21:17:09.620" v="641" actId="1076"/>
          <ac:grpSpMkLst>
            <pc:docMk/>
            <pc:sldMk cId="3872162738" sldId="2147483495"/>
            <ac:grpSpMk id="9" creationId="{4B455750-CE11-C817-E5B8-7514C4F2CFD5}"/>
          </ac:grpSpMkLst>
        </pc:grpChg>
        <pc:grpChg chg="add mod">
          <ac:chgData name="Rienks, Rutger" userId="66af6280-af5f-4585-9380-ff89c9177423" providerId="ADAL" clId="{140DD42F-A2B8-4501-82CC-C11D0E6300B1}" dt="2026-03-06T21:24:58.523" v="685" actId="1076"/>
          <ac:grpSpMkLst>
            <pc:docMk/>
            <pc:sldMk cId="3872162738" sldId="2147483495"/>
            <ac:grpSpMk id="22" creationId="{07A7FE58-F93D-8046-4F67-8B9444E8DD8A}"/>
          </ac:grpSpMkLst>
        </pc:grpChg>
        <pc:grpChg chg="mod">
          <ac:chgData name="Rienks, Rutger" userId="66af6280-af5f-4585-9380-ff89c9177423" providerId="ADAL" clId="{140DD42F-A2B8-4501-82CC-C11D0E6300B1}" dt="2026-03-06T21:24:27.763" v="678"/>
          <ac:grpSpMkLst>
            <pc:docMk/>
            <pc:sldMk cId="3872162738" sldId="2147483495"/>
            <ac:grpSpMk id="25" creationId="{14B7CD56-4EC0-E52B-9119-C123AF397EC5}"/>
          </ac:grpSpMkLst>
        </pc:grpChg>
        <pc:picChg chg="mod">
          <ac:chgData name="Rienks, Rutger" userId="66af6280-af5f-4585-9380-ff89c9177423" providerId="ADAL" clId="{140DD42F-A2B8-4501-82CC-C11D0E6300B1}" dt="2026-03-04T07:54:18.489" v="214"/>
          <ac:picMkLst>
            <pc:docMk/>
            <pc:sldMk cId="3872162738" sldId="2147483495"/>
            <ac:picMk id="8" creationId="{13BB5893-72B5-C6AA-BC11-4437A4EFFEBA}"/>
          </ac:picMkLst>
        </pc:picChg>
        <pc:picChg chg="add mod">
          <ac:chgData name="Rienks, Rutger" userId="66af6280-af5f-4585-9380-ff89c9177423" providerId="ADAL" clId="{140DD42F-A2B8-4501-82CC-C11D0E6300B1}" dt="2026-03-06T21:17:09.620" v="641" actId="1076"/>
          <ac:picMkLst>
            <pc:docMk/>
            <pc:sldMk cId="3872162738" sldId="2147483495"/>
            <ac:picMk id="14" creationId="{03F516BA-5953-D4B3-D505-B92C49B61B1F}"/>
          </ac:picMkLst>
        </pc:picChg>
        <pc:picChg chg="add mod">
          <ac:chgData name="Rienks, Rutger" userId="66af6280-af5f-4585-9380-ff89c9177423" providerId="ADAL" clId="{140DD42F-A2B8-4501-82CC-C11D0E6300B1}" dt="2026-03-06T21:17:09.620" v="641" actId="1076"/>
          <ac:picMkLst>
            <pc:docMk/>
            <pc:sldMk cId="3872162738" sldId="2147483495"/>
            <ac:picMk id="15" creationId="{5BB60DE2-C9AE-D9C7-9421-7DB69242D2AB}"/>
          </ac:picMkLst>
        </pc:picChg>
        <pc:picChg chg="add mod">
          <ac:chgData name="Rienks, Rutger" userId="66af6280-af5f-4585-9380-ff89c9177423" providerId="ADAL" clId="{140DD42F-A2B8-4501-82CC-C11D0E6300B1}" dt="2026-03-06T21:16:39.230" v="636" actId="1076"/>
          <ac:picMkLst>
            <pc:docMk/>
            <pc:sldMk cId="3872162738" sldId="2147483495"/>
            <ac:picMk id="20" creationId="{309B106C-F276-0868-1799-E7A462B289A8}"/>
          </ac:picMkLst>
        </pc:picChg>
      </pc:sldChg>
      <pc:sldChg chg="addSp delSp modSp new mod">
        <pc:chgData name="Rienks, Rutger" userId="66af6280-af5f-4585-9380-ff89c9177423" providerId="ADAL" clId="{140DD42F-A2B8-4501-82CC-C11D0E6300B1}" dt="2026-03-06T21:21:31.684" v="663" actId="1076"/>
        <pc:sldMkLst>
          <pc:docMk/>
          <pc:sldMk cId="2413898656" sldId="2147483496"/>
        </pc:sldMkLst>
        <pc:spChg chg="add mod">
          <ac:chgData name="Rienks, Rutger" userId="66af6280-af5f-4585-9380-ff89c9177423" providerId="ADAL" clId="{140DD42F-A2B8-4501-82CC-C11D0E6300B1}" dt="2026-03-06T21:20:57.752" v="660" actId="14100"/>
          <ac:spMkLst>
            <pc:docMk/>
            <pc:sldMk cId="2413898656" sldId="2147483496"/>
            <ac:spMk id="3" creationId="{E58AF47E-3EE9-41A7-B395-8DC706038B48}"/>
          </ac:spMkLst>
        </pc:spChg>
        <pc:spChg chg="add mod">
          <ac:chgData name="Rienks, Rutger" userId="66af6280-af5f-4585-9380-ff89c9177423" providerId="ADAL" clId="{140DD42F-A2B8-4501-82CC-C11D0E6300B1}" dt="2026-03-06T21:21:31.684" v="663" actId="1076"/>
          <ac:spMkLst>
            <pc:docMk/>
            <pc:sldMk cId="2413898656" sldId="2147483496"/>
            <ac:spMk id="4" creationId="{5007681E-0108-6380-9C6B-173FA59A7138}"/>
          </ac:spMkLst>
        </pc:spChg>
        <pc:spChg chg="mod">
          <ac:chgData name="Rienks, Rutger" userId="66af6280-af5f-4585-9380-ff89c9177423" providerId="ADAL" clId="{140DD42F-A2B8-4501-82CC-C11D0E6300B1}" dt="2026-03-04T07:55:13.493" v="220"/>
          <ac:spMkLst>
            <pc:docMk/>
            <pc:sldMk cId="2413898656" sldId="2147483496"/>
            <ac:spMk id="6" creationId="{59E684E5-FC3F-9047-C37A-42CF71D842A4}"/>
          </ac:spMkLst>
        </pc:spChg>
        <pc:spChg chg="add mod">
          <ac:chgData name="Rienks, Rutger" userId="66af6280-af5f-4585-9380-ff89c9177423" providerId="ADAL" clId="{140DD42F-A2B8-4501-82CC-C11D0E6300B1}" dt="2026-03-06T21:21:31.684" v="663" actId="1076"/>
          <ac:spMkLst>
            <pc:docMk/>
            <pc:sldMk cId="2413898656" sldId="2147483496"/>
            <ac:spMk id="8" creationId="{10757B99-A1F4-48B0-B3A7-002095D3D975}"/>
          </ac:spMkLst>
        </pc:spChg>
        <pc:spChg chg="mod">
          <ac:chgData name="Rienks, Rutger" userId="66af6280-af5f-4585-9380-ff89c9177423" providerId="ADAL" clId="{140DD42F-A2B8-4501-82CC-C11D0E6300B1}" dt="2026-03-04T07:55:13.493" v="220"/>
          <ac:spMkLst>
            <pc:docMk/>
            <pc:sldMk cId="2413898656" sldId="2147483496"/>
            <ac:spMk id="10" creationId="{37D25F8B-C4B2-2CCC-61D9-3F0EDB2DD8AF}"/>
          </ac:spMkLst>
        </pc:spChg>
        <pc:spChg chg="mod">
          <ac:chgData name="Rienks, Rutger" userId="66af6280-af5f-4585-9380-ff89c9177423" providerId="ADAL" clId="{140DD42F-A2B8-4501-82CC-C11D0E6300B1}" dt="2026-03-04T07:55:13.493" v="220"/>
          <ac:spMkLst>
            <pc:docMk/>
            <pc:sldMk cId="2413898656" sldId="2147483496"/>
            <ac:spMk id="13" creationId="{61E7BCDF-6C53-08A0-E3B9-376E713EB1D7}"/>
          </ac:spMkLst>
        </pc:spChg>
        <pc:spChg chg="mod">
          <ac:chgData name="Rienks, Rutger" userId="66af6280-af5f-4585-9380-ff89c9177423" providerId="ADAL" clId="{140DD42F-A2B8-4501-82CC-C11D0E6300B1}" dt="2026-03-04T07:55:13.493" v="220"/>
          <ac:spMkLst>
            <pc:docMk/>
            <pc:sldMk cId="2413898656" sldId="2147483496"/>
            <ac:spMk id="16" creationId="{47C8B346-86AE-4D6B-FB09-312D99873894}"/>
          </ac:spMkLst>
        </pc:spChg>
        <pc:spChg chg="mod">
          <ac:chgData name="Rienks, Rutger" userId="66af6280-af5f-4585-9380-ff89c9177423" providerId="ADAL" clId="{140DD42F-A2B8-4501-82CC-C11D0E6300B1}" dt="2026-03-04T07:55:13.493" v="220"/>
          <ac:spMkLst>
            <pc:docMk/>
            <pc:sldMk cId="2413898656" sldId="2147483496"/>
            <ac:spMk id="19" creationId="{965350FE-A51C-6C7D-A463-57D21317A2FF}"/>
          </ac:spMkLst>
        </pc:spChg>
        <pc:spChg chg="del mod">
          <ac:chgData name="Rienks, Rutger" userId="66af6280-af5f-4585-9380-ff89c9177423" providerId="ADAL" clId="{140DD42F-A2B8-4501-82CC-C11D0E6300B1}" dt="2026-03-06T21:20:14.802" v="655" actId="478"/>
          <ac:spMkLst>
            <pc:docMk/>
            <pc:sldMk cId="2413898656" sldId="2147483496"/>
            <ac:spMk id="38" creationId="{AC758693-424E-005B-44E8-862AE2247591}"/>
          </ac:spMkLst>
        </pc:spChg>
        <pc:spChg chg="del mod">
          <ac:chgData name="Rienks, Rutger" userId="66af6280-af5f-4585-9380-ff89c9177423" providerId="ADAL" clId="{140DD42F-A2B8-4501-82CC-C11D0E6300B1}" dt="2026-03-06T21:20:14.802" v="655" actId="478"/>
          <ac:spMkLst>
            <pc:docMk/>
            <pc:sldMk cId="2413898656" sldId="2147483496"/>
            <ac:spMk id="39" creationId="{24E93AE8-4073-6498-7AD6-753766109E96}"/>
          </ac:spMkLst>
        </pc:spChg>
        <pc:spChg chg="add del mod">
          <ac:chgData name="Rienks, Rutger" userId="66af6280-af5f-4585-9380-ff89c9177423" providerId="ADAL" clId="{140DD42F-A2B8-4501-82CC-C11D0E6300B1}" dt="2026-03-06T21:20:14.802" v="655" actId="478"/>
          <ac:spMkLst>
            <pc:docMk/>
            <pc:sldMk cId="2413898656" sldId="2147483496"/>
            <ac:spMk id="40" creationId="{340F9DFB-2E7D-6BC7-A2EE-11CA901FF422}"/>
          </ac:spMkLst>
        </pc:spChg>
        <pc:spChg chg="del mod">
          <ac:chgData name="Rienks, Rutger" userId="66af6280-af5f-4585-9380-ff89c9177423" providerId="ADAL" clId="{140DD42F-A2B8-4501-82CC-C11D0E6300B1}" dt="2026-03-06T21:20:14.802" v="655" actId="478"/>
          <ac:spMkLst>
            <pc:docMk/>
            <pc:sldMk cId="2413898656" sldId="2147483496"/>
            <ac:spMk id="43" creationId="{EA9342A1-B2C3-1A7A-E1F0-E3C0C7A155FE}"/>
          </ac:spMkLst>
        </pc:spChg>
        <pc:spChg chg="del mod">
          <ac:chgData name="Rienks, Rutger" userId="66af6280-af5f-4585-9380-ff89c9177423" providerId="ADAL" clId="{140DD42F-A2B8-4501-82CC-C11D0E6300B1}" dt="2026-03-06T21:20:14.802" v="655" actId="478"/>
          <ac:spMkLst>
            <pc:docMk/>
            <pc:sldMk cId="2413898656" sldId="2147483496"/>
            <ac:spMk id="44" creationId="{92800B92-93DA-023A-7637-956D0F4D4DA9}"/>
          </ac:spMkLst>
        </pc:spChg>
        <pc:spChg chg="del mod">
          <ac:chgData name="Rienks, Rutger" userId="66af6280-af5f-4585-9380-ff89c9177423" providerId="ADAL" clId="{140DD42F-A2B8-4501-82CC-C11D0E6300B1}" dt="2026-03-06T21:20:14.802" v="655" actId="478"/>
          <ac:spMkLst>
            <pc:docMk/>
            <pc:sldMk cId="2413898656" sldId="2147483496"/>
            <ac:spMk id="45" creationId="{50D2AD0C-7387-ED02-8BE3-8017B1A03CA9}"/>
          </ac:spMkLst>
        </pc:spChg>
        <pc:spChg chg="del mod">
          <ac:chgData name="Rienks, Rutger" userId="66af6280-af5f-4585-9380-ff89c9177423" providerId="ADAL" clId="{140DD42F-A2B8-4501-82CC-C11D0E6300B1}" dt="2026-03-06T21:20:14.802" v="655" actId="478"/>
          <ac:spMkLst>
            <pc:docMk/>
            <pc:sldMk cId="2413898656" sldId="2147483496"/>
            <ac:spMk id="46" creationId="{089AB312-3BD3-2EBF-6862-1661FDB337F8}"/>
          </ac:spMkLst>
        </pc:spChg>
        <pc:spChg chg="del mod">
          <ac:chgData name="Rienks, Rutger" userId="66af6280-af5f-4585-9380-ff89c9177423" providerId="ADAL" clId="{140DD42F-A2B8-4501-82CC-C11D0E6300B1}" dt="2026-03-06T21:20:14.802" v="655" actId="478"/>
          <ac:spMkLst>
            <pc:docMk/>
            <pc:sldMk cId="2413898656" sldId="2147483496"/>
            <ac:spMk id="47" creationId="{6C291E6C-A419-1415-FD9B-B5C24C9923D5}"/>
          </ac:spMkLst>
        </pc:spChg>
        <pc:spChg chg="del mod">
          <ac:chgData name="Rienks, Rutger" userId="66af6280-af5f-4585-9380-ff89c9177423" providerId="ADAL" clId="{140DD42F-A2B8-4501-82CC-C11D0E6300B1}" dt="2026-03-06T21:20:14.802" v="655" actId="478"/>
          <ac:spMkLst>
            <pc:docMk/>
            <pc:sldMk cId="2413898656" sldId="2147483496"/>
            <ac:spMk id="48" creationId="{E58382DB-BB29-CF4B-BC12-3AF4093F8FBE}"/>
          </ac:spMkLst>
        </pc:spChg>
        <pc:spChg chg="del mod">
          <ac:chgData name="Rienks, Rutger" userId="66af6280-af5f-4585-9380-ff89c9177423" providerId="ADAL" clId="{140DD42F-A2B8-4501-82CC-C11D0E6300B1}" dt="2026-03-06T21:20:14.802" v="655" actId="478"/>
          <ac:spMkLst>
            <pc:docMk/>
            <pc:sldMk cId="2413898656" sldId="2147483496"/>
            <ac:spMk id="49" creationId="{0DCFA484-64F5-9F54-9626-3CEDB4AB053A}"/>
          </ac:spMkLst>
        </pc:spChg>
        <pc:spChg chg="mod">
          <ac:chgData name="Rienks, Rutger" userId="66af6280-af5f-4585-9380-ff89c9177423" providerId="ADAL" clId="{140DD42F-A2B8-4501-82CC-C11D0E6300B1}" dt="2026-03-04T12:54:53.222" v="277"/>
          <ac:spMkLst>
            <pc:docMk/>
            <pc:sldMk cId="2413898656" sldId="2147483496"/>
            <ac:spMk id="75" creationId="{3D131179-4477-A849-3CD6-6EB2CA08632C}"/>
          </ac:spMkLst>
        </pc:spChg>
        <pc:spChg chg="mod">
          <ac:chgData name="Rienks, Rutger" userId="66af6280-af5f-4585-9380-ff89c9177423" providerId="ADAL" clId="{140DD42F-A2B8-4501-82CC-C11D0E6300B1}" dt="2026-03-04T12:54:53.222" v="277"/>
          <ac:spMkLst>
            <pc:docMk/>
            <pc:sldMk cId="2413898656" sldId="2147483496"/>
            <ac:spMk id="78" creationId="{31F49975-DB86-D27D-7B30-BC993A2DFBBF}"/>
          </ac:spMkLst>
        </pc:spChg>
        <pc:spChg chg="mod">
          <ac:chgData name="Rienks, Rutger" userId="66af6280-af5f-4585-9380-ff89c9177423" providerId="ADAL" clId="{140DD42F-A2B8-4501-82CC-C11D0E6300B1}" dt="2026-03-04T12:54:53.222" v="277"/>
          <ac:spMkLst>
            <pc:docMk/>
            <pc:sldMk cId="2413898656" sldId="2147483496"/>
            <ac:spMk id="79" creationId="{BD3F9F10-C172-4A7B-AEE6-A1D508972048}"/>
          </ac:spMkLst>
        </pc:spChg>
        <pc:spChg chg="mod">
          <ac:chgData name="Rienks, Rutger" userId="66af6280-af5f-4585-9380-ff89c9177423" providerId="ADAL" clId="{140DD42F-A2B8-4501-82CC-C11D0E6300B1}" dt="2026-03-04T12:54:53.222" v="277"/>
          <ac:spMkLst>
            <pc:docMk/>
            <pc:sldMk cId="2413898656" sldId="2147483496"/>
            <ac:spMk id="80" creationId="{657506DC-2A45-4358-43BA-8AF988FA02F4}"/>
          </ac:spMkLst>
        </pc:spChg>
        <pc:spChg chg="mod">
          <ac:chgData name="Rienks, Rutger" userId="66af6280-af5f-4585-9380-ff89c9177423" providerId="ADAL" clId="{140DD42F-A2B8-4501-82CC-C11D0E6300B1}" dt="2026-03-04T12:54:53.222" v="277"/>
          <ac:spMkLst>
            <pc:docMk/>
            <pc:sldMk cId="2413898656" sldId="2147483496"/>
            <ac:spMk id="81" creationId="{20041E0E-59D6-FDA0-DDB2-5274A11C5E92}"/>
          </ac:spMkLst>
        </pc:spChg>
        <pc:spChg chg="add mod">
          <ac:chgData name="Rienks, Rutger" userId="66af6280-af5f-4585-9380-ff89c9177423" providerId="ADAL" clId="{140DD42F-A2B8-4501-82CC-C11D0E6300B1}" dt="2026-03-06T21:21:20.264" v="662"/>
          <ac:spMkLst>
            <pc:docMk/>
            <pc:sldMk cId="2413898656" sldId="2147483496"/>
            <ac:spMk id="83" creationId="{8D578B6D-0ADB-B00A-155C-E97EBDBC7160}"/>
          </ac:spMkLst>
        </pc:spChg>
        <pc:grpChg chg="mod">
          <ac:chgData name="Rienks, Rutger" userId="66af6280-af5f-4585-9380-ff89c9177423" providerId="ADAL" clId="{140DD42F-A2B8-4501-82CC-C11D0E6300B1}" dt="2026-03-06T21:21:31.684" v="663" actId="1076"/>
          <ac:grpSpMkLst>
            <pc:docMk/>
            <pc:sldMk cId="2413898656" sldId="2147483496"/>
            <ac:grpSpMk id="5" creationId="{B7984CAD-E0A0-B9E9-9AA7-E77DE3245DBB}"/>
          </ac:grpSpMkLst>
        </pc:grpChg>
        <pc:grpChg chg="mod">
          <ac:chgData name="Rienks, Rutger" userId="66af6280-af5f-4585-9380-ff89c9177423" providerId="ADAL" clId="{140DD42F-A2B8-4501-82CC-C11D0E6300B1}" dt="2026-03-06T21:21:31.684" v="663" actId="1076"/>
          <ac:grpSpMkLst>
            <pc:docMk/>
            <pc:sldMk cId="2413898656" sldId="2147483496"/>
            <ac:grpSpMk id="9" creationId="{CB26A2AC-0C2B-6DCF-F335-7DAB45CCD167}"/>
          </ac:grpSpMkLst>
        </pc:grpChg>
        <pc:grpChg chg="mod">
          <ac:chgData name="Rienks, Rutger" userId="66af6280-af5f-4585-9380-ff89c9177423" providerId="ADAL" clId="{140DD42F-A2B8-4501-82CC-C11D0E6300B1}" dt="2026-03-06T21:21:31.684" v="663" actId="1076"/>
          <ac:grpSpMkLst>
            <pc:docMk/>
            <pc:sldMk cId="2413898656" sldId="2147483496"/>
            <ac:grpSpMk id="12" creationId="{B9E45D61-A35B-392D-3FE7-521A2C311E50}"/>
          </ac:grpSpMkLst>
        </pc:grpChg>
        <pc:grpChg chg="mod">
          <ac:chgData name="Rienks, Rutger" userId="66af6280-af5f-4585-9380-ff89c9177423" providerId="ADAL" clId="{140DD42F-A2B8-4501-82CC-C11D0E6300B1}" dt="2026-03-06T21:21:31.684" v="663" actId="1076"/>
          <ac:grpSpMkLst>
            <pc:docMk/>
            <pc:sldMk cId="2413898656" sldId="2147483496"/>
            <ac:grpSpMk id="15" creationId="{3698F345-903F-D736-7E8F-1673349E5269}"/>
          </ac:grpSpMkLst>
        </pc:grpChg>
        <pc:grpChg chg="mod">
          <ac:chgData name="Rienks, Rutger" userId="66af6280-af5f-4585-9380-ff89c9177423" providerId="ADAL" clId="{140DD42F-A2B8-4501-82CC-C11D0E6300B1}" dt="2026-03-06T21:21:31.684" v="663" actId="1076"/>
          <ac:grpSpMkLst>
            <pc:docMk/>
            <pc:sldMk cId="2413898656" sldId="2147483496"/>
            <ac:grpSpMk id="18" creationId="{10476BD6-3951-D971-269F-F6F118AE6AE4}"/>
          </ac:grpSpMkLst>
        </pc:grpChg>
        <pc:grpChg chg="add mod">
          <ac:chgData name="Rienks, Rutger" userId="66af6280-af5f-4585-9380-ff89c9177423" providerId="ADAL" clId="{140DD42F-A2B8-4501-82CC-C11D0E6300B1}" dt="2026-03-06T21:20:47.953" v="658" actId="1076"/>
          <ac:grpSpMkLst>
            <pc:docMk/>
            <pc:sldMk cId="2413898656" sldId="2147483496"/>
            <ac:grpSpMk id="74" creationId="{318E6F9A-56BF-D93B-C7AF-4027CDE4D8C3}"/>
          </ac:grpSpMkLst>
        </pc:grpChg>
        <pc:grpChg chg="mod">
          <ac:chgData name="Rienks, Rutger" userId="66af6280-af5f-4585-9380-ff89c9177423" providerId="ADAL" clId="{140DD42F-A2B8-4501-82CC-C11D0E6300B1}" dt="2026-03-04T12:54:53.222" v="277"/>
          <ac:grpSpMkLst>
            <pc:docMk/>
            <pc:sldMk cId="2413898656" sldId="2147483496"/>
            <ac:grpSpMk id="77" creationId="{771C1AEE-68EB-DE76-30FE-3B89802EEC56}"/>
          </ac:grpSpMkLst>
        </pc:grpChg>
        <pc:picChg chg="mod">
          <ac:chgData name="Rienks, Rutger" userId="66af6280-af5f-4585-9380-ff89c9177423" providerId="ADAL" clId="{140DD42F-A2B8-4501-82CC-C11D0E6300B1}" dt="2026-03-04T07:55:13.493" v="220"/>
          <ac:picMkLst>
            <pc:docMk/>
            <pc:sldMk cId="2413898656" sldId="2147483496"/>
            <ac:picMk id="7" creationId="{873B731E-49C1-3212-F8C2-B130E079255F}"/>
          </ac:picMkLst>
        </pc:picChg>
        <pc:picChg chg="mod">
          <ac:chgData name="Rienks, Rutger" userId="66af6280-af5f-4585-9380-ff89c9177423" providerId="ADAL" clId="{140DD42F-A2B8-4501-82CC-C11D0E6300B1}" dt="2026-03-04T07:55:13.493" v="220"/>
          <ac:picMkLst>
            <pc:docMk/>
            <pc:sldMk cId="2413898656" sldId="2147483496"/>
            <ac:picMk id="17" creationId="{5899D94E-1ADA-9493-08AD-C47204AFF5CE}"/>
          </ac:picMkLst>
        </pc:picChg>
        <pc:picChg chg="mod">
          <ac:chgData name="Rienks, Rutger" userId="66af6280-af5f-4585-9380-ff89c9177423" providerId="ADAL" clId="{140DD42F-A2B8-4501-82CC-C11D0E6300B1}" dt="2026-03-04T07:55:13.493" v="220"/>
          <ac:picMkLst>
            <pc:docMk/>
            <pc:sldMk cId="2413898656" sldId="2147483496"/>
            <ac:picMk id="20" creationId="{3D58E110-8D0E-46BB-1EA6-59D9EEA1FB0D}"/>
          </ac:picMkLst>
        </pc:picChg>
        <pc:picChg chg="add mod">
          <ac:chgData name="Rienks, Rutger" userId="66af6280-af5f-4585-9380-ff89c9177423" providerId="ADAL" clId="{140DD42F-A2B8-4501-82CC-C11D0E6300B1}" dt="2026-03-06T21:21:04.798" v="661"/>
          <ac:picMkLst>
            <pc:docMk/>
            <pc:sldMk cId="2413898656" sldId="2147483496"/>
            <ac:picMk id="82" creationId="{29229F17-3869-32E8-A63F-0D6151342895}"/>
          </ac:picMkLst>
        </pc:picChg>
      </pc:sldChg>
      <pc:sldChg chg="addSp delSp modSp add mod">
        <pc:chgData name="Rienks, Rutger" userId="66af6280-af5f-4585-9380-ff89c9177423" providerId="ADAL" clId="{140DD42F-A2B8-4501-82CC-C11D0E6300B1}" dt="2026-03-06T21:23:52.351" v="675" actId="1076"/>
        <pc:sldMkLst>
          <pc:docMk/>
          <pc:sldMk cId="2974567073" sldId="2147483497"/>
        </pc:sldMkLst>
        <pc:spChg chg="add mod">
          <ac:chgData name="Rienks, Rutger" userId="66af6280-af5f-4585-9380-ff89c9177423" providerId="ADAL" clId="{140DD42F-A2B8-4501-82CC-C11D0E6300B1}" dt="2026-03-06T21:23:29.502" v="672" actId="1076"/>
          <ac:spMkLst>
            <pc:docMk/>
            <pc:sldMk cId="2974567073" sldId="2147483497"/>
            <ac:spMk id="18" creationId="{ADF60A9F-9A22-E9B3-7B2A-5DEEEFDFF459}"/>
          </ac:spMkLst>
        </pc:spChg>
        <pc:spChg chg="add mod">
          <ac:chgData name="Rienks, Rutger" userId="66af6280-af5f-4585-9380-ff89c9177423" providerId="ADAL" clId="{140DD42F-A2B8-4501-82CC-C11D0E6300B1}" dt="2026-03-06T21:23:52.351" v="675" actId="1076"/>
          <ac:spMkLst>
            <pc:docMk/>
            <pc:sldMk cId="2974567073" sldId="2147483497"/>
            <ac:spMk id="19" creationId="{DC5922EF-5788-55BB-5F26-3A3692C4EFB5}"/>
          </ac:spMkLst>
        </pc:spChg>
        <pc:spChg chg="add mod">
          <ac:chgData name="Rienks, Rutger" userId="66af6280-af5f-4585-9380-ff89c9177423" providerId="ADAL" clId="{140DD42F-A2B8-4501-82CC-C11D0E6300B1}" dt="2026-03-06T21:23:52.351" v="675" actId="1076"/>
          <ac:spMkLst>
            <pc:docMk/>
            <pc:sldMk cId="2974567073" sldId="2147483497"/>
            <ac:spMk id="20" creationId="{1DE9B1F6-EB50-D928-E3BA-42D6C08399CC}"/>
          </ac:spMkLst>
        </pc:spChg>
        <pc:spChg chg="mod">
          <ac:chgData name="Rienks, Rutger" userId="66af6280-af5f-4585-9380-ff89c9177423" providerId="ADAL" clId="{140DD42F-A2B8-4501-82CC-C11D0E6300B1}" dt="2026-03-04T07:56:14.286" v="229"/>
          <ac:spMkLst>
            <pc:docMk/>
            <pc:sldMk cId="2974567073" sldId="2147483497"/>
            <ac:spMk id="22" creationId="{C827EC0A-749C-36EC-81DB-D2A1CE53D8FA}"/>
          </ac:spMkLst>
        </pc:spChg>
        <pc:spChg chg="mod">
          <ac:chgData name="Rienks, Rutger" userId="66af6280-af5f-4585-9380-ff89c9177423" providerId="ADAL" clId="{140DD42F-A2B8-4501-82CC-C11D0E6300B1}" dt="2026-03-04T07:56:14.286" v="229"/>
          <ac:spMkLst>
            <pc:docMk/>
            <pc:sldMk cId="2974567073" sldId="2147483497"/>
            <ac:spMk id="25" creationId="{8C294512-1CED-A612-8CB0-173B25955506}"/>
          </ac:spMkLst>
        </pc:spChg>
        <pc:spChg chg="mod">
          <ac:chgData name="Rienks, Rutger" userId="66af6280-af5f-4585-9380-ff89c9177423" providerId="ADAL" clId="{140DD42F-A2B8-4501-82CC-C11D0E6300B1}" dt="2026-03-04T07:56:14.286" v="229"/>
          <ac:spMkLst>
            <pc:docMk/>
            <pc:sldMk cId="2974567073" sldId="2147483497"/>
            <ac:spMk id="28" creationId="{87ED9DF9-34EB-3D4B-BD66-EB79DCFB873E}"/>
          </ac:spMkLst>
        </pc:spChg>
        <pc:spChg chg="mod">
          <ac:chgData name="Rienks, Rutger" userId="66af6280-af5f-4585-9380-ff89c9177423" providerId="ADAL" clId="{140DD42F-A2B8-4501-82CC-C11D0E6300B1}" dt="2026-03-04T07:56:14.286" v="229"/>
          <ac:spMkLst>
            <pc:docMk/>
            <pc:sldMk cId="2974567073" sldId="2147483497"/>
            <ac:spMk id="31" creationId="{CEB66426-A547-2A15-7E9B-C1B461C363E7}"/>
          </ac:spMkLst>
        </pc:spChg>
        <pc:spChg chg="mod">
          <ac:chgData name="Rienks, Rutger" userId="66af6280-af5f-4585-9380-ff89c9177423" providerId="ADAL" clId="{140DD42F-A2B8-4501-82CC-C11D0E6300B1}" dt="2026-03-04T07:56:14.286" v="229"/>
          <ac:spMkLst>
            <pc:docMk/>
            <pc:sldMk cId="2974567073" sldId="2147483497"/>
            <ac:spMk id="34" creationId="{91C45E7B-7E6C-031D-794F-802B908872C0}"/>
          </ac:spMkLst>
        </pc:spChg>
        <pc:spChg chg="add del mod">
          <ac:chgData name="Rienks, Rutger" userId="66af6280-af5f-4585-9380-ff89c9177423" providerId="ADAL" clId="{140DD42F-A2B8-4501-82CC-C11D0E6300B1}" dt="2026-03-06T21:21:55.491" v="664" actId="478"/>
          <ac:spMkLst>
            <pc:docMk/>
            <pc:sldMk cId="2974567073" sldId="2147483497"/>
            <ac:spMk id="36" creationId="{E07A0386-2E97-36F3-2331-56B4C1066149}"/>
          </ac:spMkLst>
        </pc:spChg>
        <pc:spChg chg="del mod">
          <ac:chgData name="Rienks, Rutger" userId="66af6280-af5f-4585-9380-ff89c9177423" providerId="ADAL" clId="{140DD42F-A2B8-4501-82CC-C11D0E6300B1}" dt="2026-03-06T21:21:55.491" v="664" actId="478"/>
          <ac:spMkLst>
            <pc:docMk/>
            <pc:sldMk cId="2974567073" sldId="2147483497"/>
            <ac:spMk id="38" creationId="{4DF1FC72-F952-6E36-D2A9-6455403EEE82}"/>
          </ac:spMkLst>
        </pc:spChg>
        <pc:spChg chg="add del mod">
          <ac:chgData name="Rienks, Rutger" userId="66af6280-af5f-4585-9380-ff89c9177423" providerId="ADAL" clId="{140DD42F-A2B8-4501-82CC-C11D0E6300B1}" dt="2026-03-06T21:21:55.491" v="664" actId="478"/>
          <ac:spMkLst>
            <pc:docMk/>
            <pc:sldMk cId="2974567073" sldId="2147483497"/>
            <ac:spMk id="39" creationId="{508A5984-AED3-D28D-DE51-B5ADAC681D9D}"/>
          </ac:spMkLst>
        </pc:spChg>
        <pc:spChg chg="del mod">
          <ac:chgData name="Rienks, Rutger" userId="66af6280-af5f-4585-9380-ff89c9177423" providerId="ADAL" clId="{140DD42F-A2B8-4501-82CC-C11D0E6300B1}" dt="2026-03-06T21:21:55.491" v="664" actId="478"/>
          <ac:spMkLst>
            <pc:docMk/>
            <pc:sldMk cId="2974567073" sldId="2147483497"/>
            <ac:spMk id="40" creationId="{09468B80-76C2-AD55-B389-E049D63B9036}"/>
          </ac:spMkLst>
        </pc:spChg>
        <pc:spChg chg="del mod">
          <ac:chgData name="Rienks, Rutger" userId="66af6280-af5f-4585-9380-ff89c9177423" providerId="ADAL" clId="{140DD42F-A2B8-4501-82CC-C11D0E6300B1}" dt="2026-03-06T21:21:55.491" v="664" actId="478"/>
          <ac:spMkLst>
            <pc:docMk/>
            <pc:sldMk cId="2974567073" sldId="2147483497"/>
            <ac:spMk id="41" creationId="{61A9D723-3A85-EE76-17F5-15828D4B6C60}"/>
          </ac:spMkLst>
        </pc:spChg>
        <pc:spChg chg="add del mod">
          <ac:chgData name="Rienks, Rutger" userId="66af6280-af5f-4585-9380-ff89c9177423" providerId="ADAL" clId="{140DD42F-A2B8-4501-82CC-C11D0E6300B1}" dt="2026-03-06T21:21:55.491" v="664" actId="478"/>
          <ac:spMkLst>
            <pc:docMk/>
            <pc:sldMk cId="2974567073" sldId="2147483497"/>
            <ac:spMk id="42" creationId="{050F6ECC-9453-AD21-B507-98DEDDF78656}"/>
          </ac:spMkLst>
        </pc:spChg>
        <pc:spChg chg="add del mod">
          <ac:chgData name="Rienks, Rutger" userId="66af6280-af5f-4585-9380-ff89c9177423" providerId="ADAL" clId="{140DD42F-A2B8-4501-82CC-C11D0E6300B1}" dt="2026-03-06T21:21:55.491" v="664" actId="478"/>
          <ac:spMkLst>
            <pc:docMk/>
            <pc:sldMk cId="2974567073" sldId="2147483497"/>
            <ac:spMk id="44" creationId="{70454CDF-A842-F8CF-7C16-C229FAE762F5}"/>
          </ac:spMkLst>
        </pc:spChg>
        <pc:spChg chg="add del mod">
          <ac:chgData name="Rienks, Rutger" userId="66af6280-af5f-4585-9380-ff89c9177423" providerId="ADAL" clId="{140DD42F-A2B8-4501-82CC-C11D0E6300B1}" dt="2026-03-06T21:21:55.491" v="664" actId="478"/>
          <ac:spMkLst>
            <pc:docMk/>
            <pc:sldMk cId="2974567073" sldId="2147483497"/>
            <ac:spMk id="45" creationId="{0F7786EE-6BE3-13B9-0B1C-DBC164518749}"/>
          </ac:spMkLst>
        </pc:spChg>
        <pc:spChg chg="add del mod">
          <ac:chgData name="Rienks, Rutger" userId="66af6280-af5f-4585-9380-ff89c9177423" providerId="ADAL" clId="{140DD42F-A2B8-4501-82CC-C11D0E6300B1}" dt="2026-03-06T21:21:55.491" v="664" actId="478"/>
          <ac:spMkLst>
            <pc:docMk/>
            <pc:sldMk cId="2974567073" sldId="2147483497"/>
            <ac:spMk id="46" creationId="{8977E355-430F-3D6D-6EF0-B4C7ABF4017F}"/>
          </ac:spMkLst>
        </pc:spChg>
        <pc:spChg chg="add del mod">
          <ac:chgData name="Rienks, Rutger" userId="66af6280-af5f-4585-9380-ff89c9177423" providerId="ADAL" clId="{140DD42F-A2B8-4501-82CC-C11D0E6300B1}" dt="2026-03-06T21:21:55.491" v="664" actId="478"/>
          <ac:spMkLst>
            <pc:docMk/>
            <pc:sldMk cId="2974567073" sldId="2147483497"/>
            <ac:spMk id="47" creationId="{90F934B7-1724-8045-3150-4FD048C983D9}"/>
          </ac:spMkLst>
        </pc:spChg>
        <pc:spChg chg="mod">
          <ac:chgData name="Rienks, Rutger" userId="66af6280-af5f-4585-9380-ff89c9177423" providerId="ADAL" clId="{140DD42F-A2B8-4501-82CC-C11D0E6300B1}" dt="2026-03-04T12:55:23.334" v="280"/>
          <ac:spMkLst>
            <pc:docMk/>
            <pc:sldMk cId="2974567073" sldId="2147483497"/>
            <ac:spMk id="81" creationId="{BA535FD8-8B93-C046-6A18-23859295497A}"/>
          </ac:spMkLst>
        </pc:spChg>
        <pc:spChg chg="mod">
          <ac:chgData name="Rienks, Rutger" userId="66af6280-af5f-4585-9380-ff89c9177423" providerId="ADAL" clId="{140DD42F-A2B8-4501-82CC-C11D0E6300B1}" dt="2026-03-04T12:55:23.334" v="280"/>
          <ac:spMkLst>
            <pc:docMk/>
            <pc:sldMk cId="2974567073" sldId="2147483497"/>
            <ac:spMk id="84" creationId="{8B421006-8583-A498-F7CB-BC4290361EBF}"/>
          </ac:spMkLst>
        </pc:spChg>
        <pc:spChg chg="mod">
          <ac:chgData name="Rienks, Rutger" userId="66af6280-af5f-4585-9380-ff89c9177423" providerId="ADAL" clId="{140DD42F-A2B8-4501-82CC-C11D0E6300B1}" dt="2026-03-04T12:55:23.334" v="280"/>
          <ac:spMkLst>
            <pc:docMk/>
            <pc:sldMk cId="2974567073" sldId="2147483497"/>
            <ac:spMk id="85" creationId="{5F94993B-4F84-7285-3038-6C2714675AD9}"/>
          </ac:spMkLst>
        </pc:spChg>
        <pc:spChg chg="mod">
          <ac:chgData name="Rienks, Rutger" userId="66af6280-af5f-4585-9380-ff89c9177423" providerId="ADAL" clId="{140DD42F-A2B8-4501-82CC-C11D0E6300B1}" dt="2026-03-04T12:55:23.334" v="280"/>
          <ac:spMkLst>
            <pc:docMk/>
            <pc:sldMk cId="2974567073" sldId="2147483497"/>
            <ac:spMk id="86" creationId="{A7A1DE9A-6F9C-A28C-18F9-66A79A52762E}"/>
          </ac:spMkLst>
        </pc:spChg>
        <pc:spChg chg="mod">
          <ac:chgData name="Rienks, Rutger" userId="66af6280-af5f-4585-9380-ff89c9177423" providerId="ADAL" clId="{140DD42F-A2B8-4501-82CC-C11D0E6300B1}" dt="2026-03-04T12:55:23.334" v="280"/>
          <ac:spMkLst>
            <pc:docMk/>
            <pc:sldMk cId="2974567073" sldId="2147483497"/>
            <ac:spMk id="87" creationId="{D9D25788-7DE9-EA81-6C89-401752B3064D}"/>
          </ac:spMkLst>
        </pc:spChg>
        <pc:spChg chg="mod">
          <ac:chgData name="Rienks, Rutger" userId="66af6280-af5f-4585-9380-ff89c9177423" providerId="ADAL" clId="{140DD42F-A2B8-4501-82CC-C11D0E6300B1}" dt="2026-03-04T12:55:23.334" v="280"/>
          <ac:spMkLst>
            <pc:docMk/>
            <pc:sldMk cId="2974567073" sldId="2147483497"/>
            <ac:spMk id="88" creationId="{595016B6-63D0-3EFC-0A7B-0962782879E6}"/>
          </ac:spMkLst>
        </pc:spChg>
        <pc:spChg chg="mod">
          <ac:chgData name="Rienks, Rutger" userId="66af6280-af5f-4585-9380-ff89c9177423" providerId="ADAL" clId="{140DD42F-A2B8-4501-82CC-C11D0E6300B1}" dt="2026-03-04T12:55:23.334" v="280"/>
          <ac:spMkLst>
            <pc:docMk/>
            <pc:sldMk cId="2974567073" sldId="2147483497"/>
            <ac:spMk id="89" creationId="{FF4D0529-9386-5467-7014-596781C0664E}"/>
          </ac:spMkLst>
        </pc:spChg>
        <pc:spChg chg="add mod">
          <ac:chgData name="Rienks, Rutger" userId="66af6280-af5f-4585-9380-ff89c9177423" providerId="ADAL" clId="{140DD42F-A2B8-4501-82CC-C11D0E6300B1}" dt="2026-03-06T21:22:06.368" v="665"/>
          <ac:spMkLst>
            <pc:docMk/>
            <pc:sldMk cId="2974567073" sldId="2147483497"/>
            <ac:spMk id="90" creationId="{B3FDD88A-3B41-D032-1C5A-9998B2ED4E05}"/>
          </ac:spMkLst>
        </pc:spChg>
        <pc:grpChg chg="mod">
          <ac:chgData name="Rienks, Rutger" userId="66af6280-af5f-4585-9380-ff89c9177423" providerId="ADAL" clId="{140DD42F-A2B8-4501-82CC-C11D0E6300B1}" dt="2026-03-06T21:23:52.351" v="675" actId="1076"/>
          <ac:grpSpMkLst>
            <pc:docMk/>
            <pc:sldMk cId="2974567073" sldId="2147483497"/>
            <ac:grpSpMk id="21" creationId="{7C17A679-363E-C77E-4E9D-D3A54212DFB6}"/>
          </ac:grpSpMkLst>
        </pc:grpChg>
        <pc:grpChg chg="mod">
          <ac:chgData name="Rienks, Rutger" userId="66af6280-af5f-4585-9380-ff89c9177423" providerId="ADAL" clId="{140DD42F-A2B8-4501-82CC-C11D0E6300B1}" dt="2026-03-06T21:23:52.351" v="675" actId="1076"/>
          <ac:grpSpMkLst>
            <pc:docMk/>
            <pc:sldMk cId="2974567073" sldId="2147483497"/>
            <ac:grpSpMk id="24" creationId="{9471DC49-5C92-7AF9-27F2-22FA3BD7441F}"/>
          </ac:grpSpMkLst>
        </pc:grpChg>
        <pc:grpChg chg="mod">
          <ac:chgData name="Rienks, Rutger" userId="66af6280-af5f-4585-9380-ff89c9177423" providerId="ADAL" clId="{140DD42F-A2B8-4501-82CC-C11D0E6300B1}" dt="2026-03-06T21:23:52.351" v="675" actId="1076"/>
          <ac:grpSpMkLst>
            <pc:docMk/>
            <pc:sldMk cId="2974567073" sldId="2147483497"/>
            <ac:grpSpMk id="27" creationId="{FB77FD74-ACA0-A8FC-6B2C-3D1E67F5C47F}"/>
          </ac:grpSpMkLst>
        </pc:grpChg>
        <pc:grpChg chg="mod">
          <ac:chgData name="Rienks, Rutger" userId="66af6280-af5f-4585-9380-ff89c9177423" providerId="ADAL" clId="{140DD42F-A2B8-4501-82CC-C11D0E6300B1}" dt="2026-03-06T21:23:52.351" v="675" actId="1076"/>
          <ac:grpSpMkLst>
            <pc:docMk/>
            <pc:sldMk cId="2974567073" sldId="2147483497"/>
            <ac:grpSpMk id="30" creationId="{C1E222CD-7173-69F1-8251-C8EA039FC5AC}"/>
          </ac:grpSpMkLst>
        </pc:grpChg>
        <pc:grpChg chg="mod">
          <ac:chgData name="Rienks, Rutger" userId="66af6280-af5f-4585-9380-ff89c9177423" providerId="ADAL" clId="{140DD42F-A2B8-4501-82CC-C11D0E6300B1}" dt="2026-03-06T21:23:52.351" v="675" actId="1076"/>
          <ac:grpSpMkLst>
            <pc:docMk/>
            <pc:sldMk cId="2974567073" sldId="2147483497"/>
            <ac:grpSpMk id="33" creationId="{794DDA1C-6007-F450-26CC-6F2EF696CD9F}"/>
          </ac:grpSpMkLst>
        </pc:grpChg>
        <pc:grpChg chg="add mod">
          <ac:chgData name="Rienks, Rutger" userId="66af6280-af5f-4585-9380-ff89c9177423" providerId="ADAL" clId="{140DD42F-A2B8-4501-82CC-C11D0E6300B1}" dt="2026-03-06T21:23:34.878" v="674" actId="1076"/>
          <ac:grpSpMkLst>
            <pc:docMk/>
            <pc:sldMk cId="2974567073" sldId="2147483497"/>
            <ac:grpSpMk id="80" creationId="{9450BCDB-CFF0-6062-34C6-9A3CFACAAFE6}"/>
          </ac:grpSpMkLst>
        </pc:grpChg>
        <pc:grpChg chg="mod">
          <ac:chgData name="Rienks, Rutger" userId="66af6280-af5f-4585-9380-ff89c9177423" providerId="ADAL" clId="{140DD42F-A2B8-4501-82CC-C11D0E6300B1}" dt="2026-03-04T12:55:23.334" v="280"/>
          <ac:grpSpMkLst>
            <pc:docMk/>
            <pc:sldMk cId="2974567073" sldId="2147483497"/>
            <ac:grpSpMk id="83" creationId="{FEFB1BAC-7574-B9D6-8695-398407C34C1D}"/>
          </ac:grpSpMkLst>
        </pc:grpChg>
        <pc:picChg chg="mod">
          <ac:chgData name="Rienks, Rutger" userId="66af6280-af5f-4585-9380-ff89c9177423" providerId="ADAL" clId="{140DD42F-A2B8-4501-82CC-C11D0E6300B1}" dt="2026-03-04T07:56:14.286" v="229"/>
          <ac:picMkLst>
            <pc:docMk/>
            <pc:sldMk cId="2974567073" sldId="2147483497"/>
            <ac:picMk id="23" creationId="{AEB5C79B-53AA-7540-BBDF-DCD4F40720B0}"/>
          </ac:picMkLst>
        </pc:picChg>
        <pc:picChg chg="mod">
          <ac:chgData name="Rienks, Rutger" userId="66af6280-af5f-4585-9380-ff89c9177423" providerId="ADAL" clId="{140DD42F-A2B8-4501-82CC-C11D0E6300B1}" dt="2026-03-04T07:56:14.286" v="229"/>
          <ac:picMkLst>
            <pc:docMk/>
            <pc:sldMk cId="2974567073" sldId="2147483497"/>
            <ac:picMk id="26" creationId="{DD91DC36-4AD9-DE46-AFEE-130D45572726}"/>
          </ac:picMkLst>
        </pc:picChg>
        <pc:picChg chg="mod">
          <ac:chgData name="Rienks, Rutger" userId="66af6280-af5f-4585-9380-ff89c9177423" providerId="ADAL" clId="{140DD42F-A2B8-4501-82CC-C11D0E6300B1}" dt="2026-03-04T07:56:14.286" v="229"/>
          <ac:picMkLst>
            <pc:docMk/>
            <pc:sldMk cId="2974567073" sldId="2147483497"/>
            <ac:picMk id="35" creationId="{C5FF5159-6921-8CDD-1E34-5E343B8973CB}"/>
          </ac:picMkLst>
        </pc:picChg>
        <pc:picChg chg="add mod">
          <ac:chgData name="Rienks, Rutger" userId="66af6280-af5f-4585-9380-ff89c9177423" providerId="ADAL" clId="{140DD42F-A2B8-4501-82CC-C11D0E6300B1}" dt="2026-03-06T21:22:14.567" v="667"/>
          <ac:picMkLst>
            <pc:docMk/>
            <pc:sldMk cId="2974567073" sldId="2147483497"/>
            <ac:picMk id="91" creationId="{D48C08EA-E854-85DB-25E1-CBF4C34F6344}"/>
          </ac:picMkLst>
        </pc:picChg>
      </pc:sldChg>
      <pc:sldChg chg="addSp delSp modSp new mod ord">
        <pc:chgData name="Rienks, Rutger" userId="66af6280-af5f-4585-9380-ff89c9177423" providerId="ADAL" clId="{140DD42F-A2B8-4501-82CC-C11D0E6300B1}" dt="2026-03-06T21:24:06.376" v="676" actId="1076"/>
        <pc:sldMkLst>
          <pc:docMk/>
          <pc:sldMk cId="1840870566" sldId="2147483498"/>
        </pc:sldMkLst>
        <pc:spChg chg="add mod">
          <ac:chgData name="Rienks, Rutger" userId="66af6280-af5f-4585-9380-ff89c9177423" providerId="ADAL" clId="{140DD42F-A2B8-4501-82CC-C11D0E6300B1}" dt="2026-03-06T21:17:59.915" v="645" actId="14100"/>
          <ac:spMkLst>
            <pc:docMk/>
            <pc:sldMk cId="1840870566" sldId="2147483498"/>
            <ac:spMk id="3" creationId="{5069093D-8F45-0EDE-A388-0517A52AF983}"/>
          </ac:spMkLst>
        </pc:spChg>
        <pc:spChg chg="mod">
          <ac:chgData name="Rienks, Rutger" userId="66af6280-af5f-4585-9380-ff89c9177423" providerId="ADAL" clId="{140DD42F-A2B8-4501-82CC-C11D0E6300B1}" dt="2026-03-04T07:56:58" v="233"/>
          <ac:spMkLst>
            <pc:docMk/>
            <pc:sldMk cId="1840870566" sldId="2147483498"/>
            <ac:spMk id="5" creationId="{A3960FD0-C463-B0DC-F317-4E3DE6F7C036}"/>
          </ac:spMkLst>
        </pc:spChg>
        <pc:spChg chg="mod">
          <ac:chgData name="Rienks, Rutger" userId="66af6280-af5f-4585-9380-ff89c9177423" providerId="ADAL" clId="{140DD42F-A2B8-4501-82CC-C11D0E6300B1}" dt="2026-03-04T12:54:23.214" v="275" actId="1076"/>
          <ac:spMkLst>
            <pc:docMk/>
            <pc:sldMk cId="1840870566" sldId="2147483498"/>
            <ac:spMk id="6" creationId="{C1861857-5A39-C159-E956-94FD8298A1AA}"/>
          </ac:spMkLst>
        </pc:spChg>
        <pc:spChg chg="mod">
          <ac:chgData name="Rienks, Rutger" userId="66af6280-af5f-4585-9380-ff89c9177423" providerId="ADAL" clId="{140DD42F-A2B8-4501-82CC-C11D0E6300B1}" dt="2026-03-04T07:56:58" v="233"/>
          <ac:spMkLst>
            <pc:docMk/>
            <pc:sldMk cId="1840870566" sldId="2147483498"/>
            <ac:spMk id="8" creationId="{C241A1E4-74C2-CA86-B7B3-FE7F4167D08A}"/>
          </ac:spMkLst>
        </pc:spChg>
        <pc:spChg chg="mod">
          <ac:chgData name="Rienks, Rutger" userId="66af6280-af5f-4585-9380-ff89c9177423" providerId="ADAL" clId="{140DD42F-A2B8-4501-82CC-C11D0E6300B1}" dt="2026-03-04T07:56:58" v="233"/>
          <ac:spMkLst>
            <pc:docMk/>
            <pc:sldMk cId="1840870566" sldId="2147483498"/>
            <ac:spMk id="11" creationId="{3CD972B4-0B4D-AC17-7CD6-5834653E8C07}"/>
          </ac:spMkLst>
        </pc:spChg>
        <pc:spChg chg="mod">
          <ac:chgData name="Rienks, Rutger" userId="66af6280-af5f-4585-9380-ff89c9177423" providerId="ADAL" clId="{140DD42F-A2B8-4501-82CC-C11D0E6300B1}" dt="2026-03-04T07:56:58" v="233"/>
          <ac:spMkLst>
            <pc:docMk/>
            <pc:sldMk cId="1840870566" sldId="2147483498"/>
            <ac:spMk id="14" creationId="{02E59A11-9C26-F252-55F5-EB44302BAE22}"/>
          </ac:spMkLst>
        </pc:spChg>
        <pc:spChg chg="mod">
          <ac:chgData name="Rienks, Rutger" userId="66af6280-af5f-4585-9380-ff89c9177423" providerId="ADAL" clId="{140DD42F-A2B8-4501-82CC-C11D0E6300B1}" dt="2026-03-04T07:56:58" v="233"/>
          <ac:spMkLst>
            <pc:docMk/>
            <pc:sldMk cId="1840870566" sldId="2147483498"/>
            <ac:spMk id="17" creationId="{1D444586-6F51-4096-CA29-F47EB83FEB0A}"/>
          </ac:spMkLst>
        </pc:spChg>
        <pc:spChg chg="mod">
          <ac:chgData name="Rienks, Rutger" userId="66af6280-af5f-4585-9380-ff89c9177423" providerId="ADAL" clId="{140DD42F-A2B8-4501-82CC-C11D0E6300B1}" dt="2026-03-06T21:18:37.604" v="646"/>
          <ac:spMkLst>
            <pc:docMk/>
            <pc:sldMk cId="1840870566" sldId="2147483498"/>
            <ac:spMk id="34" creationId="{F27E254A-7E42-5B22-D5B0-B94F35AA3D35}"/>
          </ac:spMkLst>
        </pc:spChg>
        <pc:spChg chg="del mod">
          <ac:chgData name="Rienks, Rutger" userId="66af6280-af5f-4585-9380-ff89c9177423" providerId="ADAL" clId="{140DD42F-A2B8-4501-82CC-C11D0E6300B1}" dt="2026-03-06T21:18:48.229" v="649" actId="478"/>
          <ac:spMkLst>
            <pc:docMk/>
            <pc:sldMk cId="1840870566" sldId="2147483498"/>
            <ac:spMk id="35" creationId="{0DD47219-B72D-EFCA-3F0A-2689EE3C11FB}"/>
          </ac:spMkLst>
        </pc:spChg>
        <pc:spChg chg="mod">
          <ac:chgData name="Rienks, Rutger" userId="66af6280-af5f-4585-9380-ff89c9177423" providerId="ADAL" clId="{140DD42F-A2B8-4501-82CC-C11D0E6300B1}" dt="2026-03-06T21:18:37.604" v="646"/>
          <ac:spMkLst>
            <pc:docMk/>
            <pc:sldMk cId="1840870566" sldId="2147483498"/>
            <ac:spMk id="37" creationId="{E91EF92B-2CFC-57A1-DCC1-829930A22E8D}"/>
          </ac:spMkLst>
        </pc:spChg>
        <pc:spChg chg="mod">
          <ac:chgData name="Rienks, Rutger" userId="66af6280-af5f-4585-9380-ff89c9177423" providerId="ADAL" clId="{140DD42F-A2B8-4501-82CC-C11D0E6300B1}" dt="2026-03-06T21:18:37.604" v="646"/>
          <ac:spMkLst>
            <pc:docMk/>
            <pc:sldMk cId="1840870566" sldId="2147483498"/>
            <ac:spMk id="38" creationId="{ABDD9904-D095-0570-8CCA-8FC770121CD4}"/>
          </ac:spMkLst>
        </pc:spChg>
        <pc:spChg chg="mod">
          <ac:chgData name="Rienks, Rutger" userId="66af6280-af5f-4585-9380-ff89c9177423" providerId="ADAL" clId="{140DD42F-A2B8-4501-82CC-C11D0E6300B1}" dt="2026-03-06T21:18:37.604" v="646"/>
          <ac:spMkLst>
            <pc:docMk/>
            <pc:sldMk cId="1840870566" sldId="2147483498"/>
            <ac:spMk id="39" creationId="{03D74A8D-79FF-4090-0526-DD2F05388253}"/>
          </ac:spMkLst>
        </pc:spChg>
        <pc:spChg chg="mod">
          <ac:chgData name="Rienks, Rutger" userId="66af6280-af5f-4585-9380-ff89c9177423" providerId="ADAL" clId="{140DD42F-A2B8-4501-82CC-C11D0E6300B1}" dt="2026-03-06T21:18:37.604" v="646"/>
          <ac:spMkLst>
            <pc:docMk/>
            <pc:sldMk cId="1840870566" sldId="2147483498"/>
            <ac:spMk id="40" creationId="{397A8306-A23B-B11A-6354-1C4EA54F277D}"/>
          </ac:spMkLst>
        </pc:spChg>
        <pc:spChg chg="add mod">
          <ac:chgData name="Rienks, Rutger" userId="66af6280-af5f-4585-9380-ff89c9177423" providerId="ADAL" clId="{140DD42F-A2B8-4501-82CC-C11D0E6300B1}" dt="2026-03-06T21:19:25.597" v="653"/>
          <ac:spMkLst>
            <pc:docMk/>
            <pc:sldMk cId="1840870566" sldId="2147483498"/>
            <ac:spMk id="42" creationId="{40189E39-36E2-F7B2-7312-8754D324FE98}"/>
          </ac:spMkLst>
        </pc:spChg>
        <pc:grpChg chg="mod">
          <ac:chgData name="Rienks, Rutger" userId="66af6280-af5f-4585-9380-ff89c9177423" providerId="ADAL" clId="{140DD42F-A2B8-4501-82CC-C11D0E6300B1}" dt="2026-03-06T21:19:36.176" v="654" actId="1076"/>
          <ac:grpSpMkLst>
            <pc:docMk/>
            <pc:sldMk cId="1840870566" sldId="2147483498"/>
            <ac:grpSpMk id="4" creationId="{69935050-9E81-7A1C-56A8-7915651F97AA}"/>
          </ac:grpSpMkLst>
        </pc:grpChg>
        <pc:grpChg chg="mod">
          <ac:chgData name="Rienks, Rutger" userId="66af6280-af5f-4585-9380-ff89c9177423" providerId="ADAL" clId="{140DD42F-A2B8-4501-82CC-C11D0E6300B1}" dt="2026-03-06T21:19:36.176" v="654" actId="1076"/>
          <ac:grpSpMkLst>
            <pc:docMk/>
            <pc:sldMk cId="1840870566" sldId="2147483498"/>
            <ac:grpSpMk id="7" creationId="{C722F557-8C2E-D176-3B4B-1F9FA5B7430B}"/>
          </ac:grpSpMkLst>
        </pc:grpChg>
        <pc:grpChg chg="mod">
          <ac:chgData name="Rienks, Rutger" userId="66af6280-af5f-4585-9380-ff89c9177423" providerId="ADAL" clId="{140DD42F-A2B8-4501-82CC-C11D0E6300B1}" dt="2026-03-06T21:19:36.176" v="654" actId="1076"/>
          <ac:grpSpMkLst>
            <pc:docMk/>
            <pc:sldMk cId="1840870566" sldId="2147483498"/>
            <ac:grpSpMk id="10" creationId="{275A3619-3D21-FD67-8939-4DFEDBC9FC70}"/>
          </ac:grpSpMkLst>
        </pc:grpChg>
        <pc:grpChg chg="mod">
          <ac:chgData name="Rienks, Rutger" userId="66af6280-af5f-4585-9380-ff89c9177423" providerId="ADAL" clId="{140DD42F-A2B8-4501-82CC-C11D0E6300B1}" dt="2026-03-06T21:19:36.176" v="654" actId="1076"/>
          <ac:grpSpMkLst>
            <pc:docMk/>
            <pc:sldMk cId="1840870566" sldId="2147483498"/>
            <ac:grpSpMk id="13" creationId="{143D43DD-F9B9-D9BF-3A85-7151A4186074}"/>
          </ac:grpSpMkLst>
        </pc:grpChg>
        <pc:grpChg chg="mod">
          <ac:chgData name="Rienks, Rutger" userId="66af6280-af5f-4585-9380-ff89c9177423" providerId="ADAL" clId="{140DD42F-A2B8-4501-82CC-C11D0E6300B1}" dt="2026-03-06T21:19:36.176" v="654" actId="1076"/>
          <ac:grpSpMkLst>
            <pc:docMk/>
            <pc:sldMk cId="1840870566" sldId="2147483498"/>
            <ac:grpSpMk id="16" creationId="{9FF3F607-0310-75E4-55F0-22269A32DA3B}"/>
          </ac:grpSpMkLst>
        </pc:grpChg>
        <pc:grpChg chg="add del mod">
          <ac:chgData name="Rienks, Rutger" userId="66af6280-af5f-4585-9380-ff89c9177423" providerId="ADAL" clId="{140DD42F-A2B8-4501-82CC-C11D0E6300B1}" dt="2026-03-06T21:18:55.673" v="650" actId="478"/>
          <ac:grpSpMkLst>
            <pc:docMk/>
            <pc:sldMk cId="1840870566" sldId="2147483498"/>
            <ac:grpSpMk id="23" creationId="{6B348A88-D768-228F-6D9F-CC6739BE1ABA}"/>
          </ac:grpSpMkLst>
        </pc:grpChg>
        <pc:grpChg chg="add mod">
          <ac:chgData name="Rienks, Rutger" userId="66af6280-af5f-4585-9380-ff89c9177423" providerId="ADAL" clId="{140DD42F-A2B8-4501-82CC-C11D0E6300B1}" dt="2026-03-06T21:24:06.376" v="676" actId="1076"/>
          <ac:grpSpMkLst>
            <pc:docMk/>
            <pc:sldMk cId="1840870566" sldId="2147483498"/>
            <ac:grpSpMk id="33" creationId="{DCBB8730-5626-AF2E-621A-2C4852C85B28}"/>
          </ac:grpSpMkLst>
        </pc:grpChg>
        <pc:grpChg chg="mod">
          <ac:chgData name="Rienks, Rutger" userId="66af6280-af5f-4585-9380-ff89c9177423" providerId="ADAL" clId="{140DD42F-A2B8-4501-82CC-C11D0E6300B1}" dt="2026-03-06T21:18:37.604" v="646"/>
          <ac:grpSpMkLst>
            <pc:docMk/>
            <pc:sldMk cId="1840870566" sldId="2147483498"/>
            <ac:grpSpMk id="36" creationId="{950ED903-14A1-0B9A-EAFA-D2A9BD582C69}"/>
          </ac:grpSpMkLst>
        </pc:grpChg>
        <pc:picChg chg="mod">
          <ac:chgData name="Rienks, Rutger" userId="66af6280-af5f-4585-9380-ff89c9177423" providerId="ADAL" clId="{140DD42F-A2B8-4501-82CC-C11D0E6300B1}" dt="2026-03-04T07:56:58" v="233"/>
          <ac:picMkLst>
            <pc:docMk/>
            <pc:sldMk cId="1840870566" sldId="2147483498"/>
            <ac:picMk id="9" creationId="{544F1186-1D61-17FE-B190-3213BA0F8C9D}"/>
          </ac:picMkLst>
        </pc:picChg>
        <pc:picChg chg="mod">
          <ac:chgData name="Rienks, Rutger" userId="66af6280-af5f-4585-9380-ff89c9177423" providerId="ADAL" clId="{140DD42F-A2B8-4501-82CC-C11D0E6300B1}" dt="2026-03-04T07:56:58" v="233"/>
          <ac:picMkLst>
            <pc:docMk/>
            <pc:sldMk cId="1840870566" sldId="2147483498"/>
            <ac:picMk id="12" creationId="{3D1683BB-7288-8219-4F18-4CA1CE9CC867}"/>
          </ac:picMkLst>
        </pc:picChg>
        <pc:picChg chg="mod">
          <ac:chgData name="Rienks, Rutger" userId="66af6280-af5f-4585-9380-ff89c9177423" providerId="ADAL" clId="{140DD42F-A2B8-4501-82CC-C11D0E6300B1}" dt="2026-03-04T07:56:58" v="233"/>
          <ac:picMkLst>
            <pc:docMk/>
            <pc:sldMk cId="1840870566" sldId="2147483498"/>
            <ac:picMk id="15" creationId="{D08D248B-19BF-1CC3-E6FD-992B872B4C6E}"/>
          </ac:picMkLst>
        </pc:picChg>
        <pc:picChg chg="mod">
          <ac:chgData name="Rienks, Rutger" userId="66af6280-af5f-4585-9380-ff89c9177423" providerId="ADAL" clId="{140DD42F-A2B8-4501-82CC-C11D0E6300B1}" dt="2026-03-04T07:56:58" v="233"/>
          <ac:picMkLst>
            <pc:docMk/>
            <pc:sldMk cId="1840870566" sldId="2147483498"/>
            <ac:picMk id="18" creationId="{BABB853A-53FB-06F0-FC74-0742F2825490}"/>
          </ac:picMkLst>
        </pc:picChg>
        <pc:picChg chg="add mod">
          <ac:chgData name="Rienks, Rutger" userId="66af6280-af5f-4585-9380-ff89c9177423" providerId="ADAL" clId="{140DD42F-A2B8-4501-82CC-C11D0E6300B1}" dt="2026-03-06T21:19:15.993" v="652"/>
          <ac:picMkLst>
            <pc:docMk/>
            <pc:sldMk cId="1840870566" sldId="2147483498"/>
            <ac:picMk id="41" creationId="{D68B868D-0AA7-4398-9BCD-A6B76309E6E5}"/>
          </ac:picMkLst>
        </pc:picChg>
      </pc:sldChg>
      <pc:sldChg chg="addSp delSp modSp new mod">
        <pc:chgData name="Rienks, Rutger" userId="66af6280-af5f-4585-9380-ff89c9177423" providerId="ADAL" clId="{140DD42F-A2B8-4501-82CC-C11D0E6300B1}" dt="2026-03-06T21:31:44.883" v="788" actId="14100"/>
        <pc:sldMkLst>
          <pc:docMk/>
          <pc:sldMk cId="50347747" sldId="2147483499"/>
        </pc:sldMkLst>
        <pc:spChg chg="add mod">
          <ac:chgData name="Rienks, Rutger" userId="66af6280-af5f-4585-9380-ff89c9177423" providerId="ADAL" clId="{140DD42F-A2B8-4501-82CC-C11D0E6300B1}" dt="2026-03-06T21:31:44.883" v="788" actId="14100"/>
          <ac:spMkLst>
            <pc:docMk/>
            <pc:sldMk cId="50347747" sldId="2147483499"/>
            <ac:spMk id="3" creationId="{2F7CFD6C-B4C1-E3ED-ED8E-EF57E79BEF7B}"/>
          </ac:spMkLst>
        </pc:spChg>
        <pc:spChg chg="add mod">
          <ac:chgData name="Rienks, Rutger" userId="66af6280-af5f-4585-9380-ff89c9177423" providerId="ADAL" clId="{140DD42F-A2B8-4501-82CC-C11D0E6300B1}" dt="2026-03-06T21:22:31.460" v="669" actId="1076"/>
          <ac:spMkLst>
            <pc:docMk/>
            <pc:sldMk cId="50347747" sldId="2147483499"/>
            <ac:spMk id="4" creationId="{BC6D41DA-3D2E-4265-A184-CD3C1837B86C}"/>
          </ac:spMkLst>
        </pc:spChg>
        <pc:spChg chg="mod">
          <ac:chgData name="Rienks, Rutger" userId="66af6280-af5f-4585-9380-ff89c9177423" providerId="ADAL" clId="{140DD42F-A2B8-4501-82CC-C11D0E6300B1}" dt="2026-03-04T07:57:24.424" v="237"/>
          <ac:spMkLst>
            <pc:docMk/>
            <pc:sldMk cId="50347747" sldId="2147483499"/>
            <ac:spMk id="6" creationId="{04B19C1B-91FE-E195-1938-059B89EC1829}"/>
          </ac:spMkLst>
        </pc:spChg>
        <pc:spChg chg="add mod">
          <ac:chgData name="Rienks, Rutger" userId="66af6280-af5f-4585-9380-ff89c9177423" providerId="ADAL" clId="{140DD42F-A2B8-4501-82CC-C11D0E6300B1}" dt="2026-03-06T21:22:31.460" v="669" actId="1076"/>
          <ac:spMkLst>
            <pc:docMk/>
            <pc:sldMk cId="50347747" sldId="2147483499"/>
            <ac:spMk id="8" creationId="{A422BF53-DAD0-998E-CF1F-BE7E0252624A}"/>
          </ac:spMkLst>
        </pc:spChg>
        <pc:spChg chg="mod">
          <ac:chgData name="Rienks, Rutger" userId="66af6280-af5f-4585-9380-ff89c9177423" providerId="ADAL" clId="{140DD42F-A2B8-4501-82CC-C11D0E6300B1}" dt="2026-03-04T07:57:24.424" v="237"/>
          <ac:spMkLst>
            <pc:docMk/>
            <pc:sldMk cId="50347747" sldId="2147483499"/>
            <ac:spMk id="11" creationId="{337E380C-8E57-C128-E447-A0F27F8D7FC7}"/>
          </ac:spMkLst>
        </pc:spChg>
        <pc:spChg chg="mod">
          <ac:chgData name="Rienks, Rutger" userId="66af6280-af5f-4585-9380-ff89c9177423" providerId="ADAL" clId="{140DD42F-A2B8-4501-82CC-C11D0E6300B1}" dt="2026-03-04T07:57:24.424" v="237"/>
          <ac:spMkLst>
            <pc:docMk/>
            <pc:sldMk cId="50347747" sldId="2147483499"/>
            <ac:spMk id="14" creationId="{5CE65131-1607-A861-6A38-F653ED5B7D73}"/>
          </ac:spMkLst>
        </pc:spChg>
        <pc:spChg chg="add mod">
          <ac:chgData name="Rienks, Rutger" userId="66af6280-af5f-4585-9380-ff89c9177423" providerId="ADAL" clId="{140DD42F-A2B8-4501-82CC-C11D0E6300B1}" dt="2026-03-06T21:22:37.118" v="670" actId="20577"/>
          <ac:spMkLst>
            <pc:docMk/>
            <pc:sldMk cId="50347747" sldId="2147483499"/>
            <ac:spMk id="16" creationId="{4813B1DE-FCFC-91AE-B03E-87CE0AAB6763}"/>
          </ac:spMkLst>
        </pc:spChg>
        <pc:spChg chg="mod">
          <ac:chgData name="Rienks, Rutger" userId="66af6280-af5f-4585-9380-ff89c9177423" providerId="ADAL" clId="{140DD42F-A2B8-4501-82CC-C11D0E6300B1}" dt="2026-03-06T21:25:28.732" v="690" actId="1076"/>
          <ac:spMkLst>
            <pc:docMk/>
            <pc:sldMk cId="50347747" sldId="2147483499"/>
            <ac:spMk id="18" creationId="{FAE36A50-FF72-2696-A9FB-43DD79D15798}"/>
          </ac:spMkLst>
        </pc:spChg>
        <pc:spChg chg="mod">
          <ac:chgData name="Rienks, Rutger" userId="66af6280-af5f-4585-9380-ff89c9177423" providerId="ADAL" clId="{140DD42F-A2B8-4501-82CC-C11D0E6300B1}" dt="2026-03-04T12:55:57.659" v="283"/>
          <ac:spMkLst>
            <pc:docMk/>
            <pc:sldMk cId="50347747" sldId="2147483499"/>
            <ac:spMk id="20" creationId="{CF74F282-044F-A651-3915-DFFD5F201717}"/>
          </ac:spMkLst>
        </pc:spChg>
        <pc:spChg chg="add mod">
          <ac:chgData name="Rienks, Rutger" userId="66af6280-af5f-4585-9380-ff89c9177423" providerId="ADAL" clId="{140DD42F-A2B8-4501-82CC-C11D0E6300B1}" dt="2026-03-06T21:22:08.676" v="666"/>
          <ac:spMkLst>
            <pc:docMk/>
            <pc:sldMk cId="50347747" sldId="2147483499"/>
            <ac:spMk id="22" creationId="{12BE88EE-8E96-4E31-E87A-43A05FD738C6}"/>
          </ac:spMkLst>
        </pc:spChg>
        <pc:grpChg chg="mod">
          <ac:chgData name="Rienks, Rutger" userId="66af6280-af5f-4585-9380-ff89c9177423" providerId="ADAL" clId="{140DD42F-A2B8-4501-82CC-C11D0E6300B1}" dt="2026-03-06T21:22:31.460" v="669" actId="1076"/>
          <ac:grpSpMkLst>
            <pc:docMk/>
            <pc:sldMk cId="50347747" sldId="2147483499"/>
            <ac:grpSpMk id="5" creationId="{EF82A8EE-71F0-EB5F-5002-AD9D8281F8F4}"/>
          </ac:grpSpMkLst>
        </pc:grpChg>
        <pc:grpChg chg="mod">
          <ac:chgData name="Rienks, Rutger" userId="66af6280-af5f-4585-9380-ff89c9177423" providerId="ADAL" clId="{140DD42F-A2B8-4501-82CC-C11D0E6300B1}" dt="2026-03-06T21:22:31.460" v="669" actId="1076"/>
          <ac:grpSpMkLst>
            <pc:docMk/>
            <pc:sldMk cId="50347747" sldId="2147483499"/>
            <ac:grpSpMk id="10" creationId="{6E448516-511D-6120-203E-2B813168696E}"/>
          </ac:grpSpMkLst>
        </pc:grpChg>
        <pc:grpChg chg="add mod">
          <ac:chgData name="Rienks, Rutger" userId="66af6280-af5f-4585-9380-ff89c9177423" providerId="ADAL" clId="{140DD42F-A2B8-4501-82CC-C11D0E6300B1}" dt="2026-03-06T21:22:31.460" v="669" actId="1076"/>
          <ac:grpSpMkLst>
            <pc:docMk/>
            <pc:sldMk cId="50347747" sldId="2147483499"/>
            <ac:grpSpMk id="13" creationId="{41B5E140-90D2-40D0-FA0D-4BDF937E7F7B}"/>
          </ac:grpSpMkLst>
        </pc:grpChg>
        <pc:grpChg chg="add mod">
          <ac:chgData name="Rienks, Rutger" userId="66af6280-af5f-4585-9380-ff89c9177423" providerId="ADAL" clId="{140DD42F-A2B8-4501-82CC-C11D0E6300B1}" dt="2026-03-06T21:31:35.575" v="786" actId="1076"/>
          <ac:grpSpMkLst>
            <pc:docMk/>
            <pc:sldMk cId="50347747" sldId="2147483499"/>
            <ac:grpSpMk id="17" creationId="{FE1807C8-3D1E-7924-B243-CB0EB2192A0F}"/>
          </ac:grpSpMkLst>
        </pc:grpChg>
        <pc:picChg chg="mod">
          <ac:chgData name="Rienks, Rutger" userId="66af6280-af5f-4585-9380-ff89c9177423" providerId="ADAL" clId="{140DD42F-A2B8-4501-82CC-C11D0E6300B1}" dt="2026-03-04T07:57:24.424" v="237"/>
          <ac:picMkLst>
            <pc:docMk/>
            <pc:sldMk cId="50347747" sldId="2147483499"/>
            <ac:picMk id="7" creationId="{8D4CF049-073E-DA1C-B6D4-9561CD808284}"/>
          </ac:picMkLst>
        </pc:picChg>
        <pc:picChg chg="add mod">
          <ac:chgData name="Rienks, Rutger" userId="66af6280-af5f-4585-9380-ff89c9177423" providerId="ADAL" clId="{140DD42F-A2B8-4501-82CC-C11D0E6300B1}" dt="2026-03-06T21:22:31.460" v="669" actId="1076"/>
          <ac:picMkLst>
            <pc:docMk/>
            <pc:sldMk cId="50347747" sldId="2147483499"/>
            <ac:picMk id="9" creationId="{B0A22BC3-CD0D-1B02-C55A-F2D63549D4FE}"/>
          </ac:picMkLst>
        </pc:picChg>
        <pc:picChg chg="mod">
          <ac:chgData name="Rienks, Rutger" userId="66af6280-af5f-4585-9380-ff89c9177423" providerId="ADAL" clId="{140DD42F-A2B8-4501-82CC-C11D0E6300B1}" dt="2026-03-04T07:57:24.424" v="237"/>
          <ac:picMkLst>
            <pc:docMk/>
            <pc:sldMk cId="50347747" sldId="2147483499"/>
            <ac:picMk id="12" creationId="{56DDACAE-6875-D461-505A-D95CFB76D976}"/>
          </ac:picMkLst>
        </pc:picChg>
        <pc:picChg chg="mod">
          <ac:chgData name="Rienks, Rutger" userId="66af6280-af5f-4585-9380-ff89c9177423" providerId="ADAL" clId="{140DD42F-A2B8-4501-82CC-C11D0E6300B1}" dt="2026-03-04T07:57:24.424" v="237"/>
          <ac:picMkLst>
            <pc:docMk/>
            <pc:sldMk cId="50347747" sldId="2147483499"/>
            <ac:picMk id="15" creationId="{42208D84-D53C-7DAF-46A2-685713971C14}"/>
          </ac:picMkLst>
        </pc:picChg>
        <pc:picChg chg="mod">
          <ac:chgData name="Rienks, Rutger" userId="66af6280-af5f-4585-9380-ff89c9177423" providerId="ADAL" clId="{140DD42F-A2B8-4501-82CC-C11D0E6300B1}" dt="2026-03-04T12:55:57.659" v="283"/>
          <ac:picMkLst>
            <pc:docMk/>
            <pc:sldMk cId="50347747" sldId="2147483499"/>
            <ac:picMk id="21" creationId="{5CBEEBBD-99D4-655C-9E7D-4E5031D3E349}"/>
          </ac:picMkLst>
        </pc:picChg>
        <pc:picChg chg="add mod">
          <ac:chgData name="Rienks, Rutger" userId="66af6280-af5f-4585-9380-ff89c9177423" providerId="ADAL" clId="{140DD42F-A2B8-4501-82CC-C11D0E6300B1}" dt="2026-03-06T21:22:17.962" v="668"/>
          <ac:picMkLst>
            <pc:docMk/>
            <pc:sldMk cId="50347747" sldId="2147483499"/>
            <ac:picMk id="23" creationId="{E6530356-D0C8-998A-C3E0-879BA7BD78BD}"/>
          </ac:picMkLst>
        </pc:picChg>
      </pc:sldChg>
      <pc:sldChg chg="addSp modSp add mod modTransition">
        <pc:chgData name="Rienks, Rutger" userId="66af6280-af5f-4585-9380-ff89c9177423" providerId="ADAL" clId="{140DD42F-A2B8-4501-82CC-C11D0E6300B1}" dt="2026-03-06T21:31:15.369" v="785" actId="1076"/>
        <pc:sldMkLst>
          <pc:docMk/>
          <pc:sldMk cId="3167319179" sldId="2147483566"/>
        </pc:sldMkLst>
        <pc:spChg chg="mod">
          <ac:chgData name="Rienks, Rutger" userId="66af6280-af5f-4585-9380-ff89c9177423" providerId="ADAL" clId="{140DD42F-A2B8-4501-82CC-C11D0E6300B1}" dt="2026-03-06T21:29:37.649" v="766" actId="207"/>
          <ac:spMkLst>
            <pc:docMk/>
            <pc:sldMk cId="3167319179" sldId="2147483566"/>
            <ac:spMk id="4" creationId="{FECA5E50-60E8-8180-509C-913E090952DE}"/>
          </ac:spMkLst>
        </pc:spChg>
        <pc:spChg chg="mod">
          <ac:chgData name="Rienks, Rutger" userId="66af6280-af5f-4585-9380-ff89c9177423" providerId="ADAL" clId="{140DD42F-A2B8-4501-82CC-C11D0E6300B1}" dt="2026-03-06T21:29:37.351" v="701" actId="207"/>
          <ac:spMkLst>
            <pc:docMk/>
            <pc:sldMk cId="3167319179" sldId="2147483566"/>
            <ac:spMk id="22" creationId="{4EDEF0D0-73E3-72C9-084E-EE21FC0698E9}"/>
          </ac:spMkLst>
        </pc:spChg>
        <pc:spChg chg="mod">
          <ac:chgData name="Rienks, Rutger" userId="66af6280-af5f-4585-9380-ff89c9177423" providerId="ADAL" clId="{140DD42F-A2B8-4501-82CC-C11D0E6300B1}" dt="2026-03-06T21:29:37.401" v="711" actId="207"/>
          <ac:spMkLst>
            <pc:docMk/>
            <pc:sldMk cId="3167319179" sldId="2147483566"/>
            <ac:spMk id="30" creationId="{11F48849-DC54-6B22-23F5-9D1346EF153E}"/>
          </ac:spMkLst>
        </pc:spChg>
        <pc:spChg chg="mod">
          <ac:chgData name="Rienks, Rutger" userId="66af6280-af5f-4585-9380-ff89c9177423" providerId="ADAL" clId="{140DD42F-A2B8-4501-82CC-C11D0E6300B1}" dt="2026-03-06T21:29:37.429" v="716" actId="207"/>
          <ac:spMkLst>
            <pc:docMk/>
            <pc:sldMk cId="3167319179" sldId="2147483566"/>
            <ac:spMk id="32" creationId="{82CA2B4E-E57F-68AB-275E-D9E402E59EF2}"/>
          </ac:spMkLst>
        </pc:spChg>
        <pc:spChg chg="add mod ord">
          <ac:chgData name="Rienks, Rutger" userId="66af6280-af5f-4585-9380-ff89c9177423" providerId="ADAL" clId="{140DD42F-A2B8-4501-82CC-C11D0E6300B1}" dt="2026-03-06T21:29:08.979" v="696" actId="167"/>
          <ac:spMkLst>
            <pc:docMk/>
            <pc:sldMk cId="3167319179" sldId="2147483566"/>
            <ac:spMk id="34" creationId="{A9C30F62-589C-863E-A439-18FEF7C30927}"/>
          </ac:spMkLst>
        </pc:spChg>
        <pc:spChg chg="mod">
          <ac:chgData name="Rienks, Rutger" userId="66af6280-af5f-4585-9380-ff89c9177423" providerId="ADAL" clId="{140DD42F-A2B8-4501-82CC-C11D0E6300B1}" dt="2026-03-06T21:29:37.577" v="751" actId="207"/>
          <ac:spMkLst>
            <pc:docMk/>
            <pc:sldMk cId="3167319179" sldId="2147483566"/>
            <ac:spMk id="48" creationId="{A37B6E9A-5BF1-32E8-DACB-1DFB2E6BAD1E}"/>
          </ac:spMkLst>
        </pc:spChg>
        <pc:spChg chg="mod">
          <ac:chgData name="Rienks, Rutger" userId="66af6280-af5f-4585-9380-ff89c9177423" providerId="ADAL" clId="{140DD42F-A2B8-4501-82CC-C11D0E6300B1}" dt="2026-03-06T21:31:15.369" v="785" actId="1076"/>
          <ac:spMkLst>
            <pc:docMk/>
            <pc:sldMk cId="3167319179" sldId="2147483566"/>
            <ac:spMk id="69" creationId="{EBEAA5D7-49E0-F85C-B923-874D4E12C1DD}"/>
          </ac:spMkLst>
        </pc:spChg>
        <pc:spChg chg="mod">
          <ac:chgData name="Rienks, Rutger" userId="66af6280-af5f-4585-9380-ff89c9177423" providerId="ADAL" clId="{140DD42F-A2B8-4501-82CC-C11D0E6300B1}" dt="2026-03-06T21:29:37.501" v="731" actId="207"/>
          <ac:spMkLst>
            <pc:docMk/>
            <pc:sldMk cId="3167319179" sldId="2147483566"/>
            <ac:spMk id="71" creationId="{7A6E15B3-331A-663F-D585-2BEDFBDF418E}"/>
          </ac:spMkLst>
        </pc:spChg>
        <pc:spChg chg="mod">
          <ac:chgData name="Rienks, Rutger" userId="66af6280-af5f-4585-9380-ff89c9177423" providerId="ADAL" clId="{140DD42F-A2B8-4501-82CC-C11D0E6300B1}" dt="2026-03-06T21:29:37.606" v="756" actId="207"/>
          <ac:spMkLst>
            <pc:docMk/>
            <pc:sldMk cId="3167319179" sldId="2147483566"/>
            <ac:spMk id="78" creationId="{51EB19DE-E37E-0E11-A4A7-2AF8EA162C86}"/>
          </ac:spMkLst>
        </pc:spChg>
        <pc:spChg chg="mod">
          <ac:chgData name="Rienks, Rutger" userId="66af6280-af5f-4585-9380-ff89c9177423" providerId="ADAL" clId="{140DD42F-A2B8-4501-82CC-C11D0E6300B1}" dt="2026-03-06T21:30:57.595" v="784" actId="20577"/>
          <ac:spMkLst>
            <pc:docMk/>
            <pc:sldMk cId="3167319179" sldId="2147483566"/>
            <ac:spMk id="84" creationId="{B37FBEE6-2E57-CBF9-9B03-9D2C2800E07B}"/>
          </ac:spMkLst>
        </pc:spChg>
        <pc:spChg chg="mod">
          <ac:chgData name="Rienks, Rutger" userId="66af6280-af5f-4585-9380-ff89c9177423" providerId="ADAL" clId="{140DD42F-A2B8-4501-82CC-C11D0E6300B1}" dt="2026-03-06T21:30:43.344" v="782" actId="20577"/>
          <ac:spMkLst>
            <pc:docMk/>
            <pc:sldMk cId="3167319179" sldId="2147483566"/>
            <ac:spMk id="90" creationId="{8985264F-7935-C4BE-1A3B-263FA0514ADC}"/>
          </ac:spMkLst>
        </pc:spChg>
        <pc:spChg chg="mod">
          <ac:chgData name="Rienks, Rutger" userId="66af6280-af5f-4585-9380-ff89c9177423" providerId="ADAL" clId="{140DD42F-A2B8-4501-82CC-C11D0E6300B1}" dt="2026-03-06T21:30:35.114" v="780" actId="20577"/>
          <ac:spMkLst>
            <pc:docMk/>
            <pc:sldMk cId="3167319179" sldId="2147483566"/>
            <ac:spMk id="96" creationId="{2492760B-CB78-3A00-5DC2-B5E986B0E562}"/>
          </ac:spMkLst>
        </pc:spChg>
        <pc:spChg chg="mod">
          <ac:chgData name="Rienks, Rutger" userId="66af6280-af5f-4585-9380-ff89c9177423" providerId="ADAL" clId="{140DD42F-A2B8-4501-82CC-C11D0E6300B1}" dt="2026-03-06T21:29:37.377" v="706" actId="207"/>
          <ac:spMkLst>
            <pc:docMk/>
            <pc:sldMk cId="3167319179" sldId="2147483566"/>
            <ac:spMk id="103" creationId="{02778673-D83D-4F2A-303E-BD92A75F158D}"/>
          </ac:spMkLst>
        </pc:spChg>
        <pc:spChg chg="mod">
          <ac:chgData name="Rienks, Rutger" userId="66af6280-af5f-4585-9380-ff89c9177423" providerId="ADAL" clId="{140DD42F-A2B8-4501-82CC-C11D0E6300B1}" dt="2026-03-06T21:29:37.508" v="736" actId="207"/>
          <ac:spMkLst>
            <pc:docMk/>
            <pc:sldMk cId="3167319179" sldId="2147483566"/>
            <ac:spMk id="126" creationId="{163F313D-78F0-9841-A2B8-2876125F7428}"/>
          </ac:spMkLst>
        </pc:spChg>
        <pc:spChg chg="mod">
          <ac:chgData name="Rienks, Rutger" userId="66af6280-af5f-4585-9380-ff89c9177423" providerId="ADAL" clId="{140DD42F-A2B8-4501-82CC-C11D0E6300B1}" dt="2026-03-06T21:29:37.551" v="746" actId="207"/>
          <ac:spMkLst>
            <pc:docMk/>
            <pc:sldMk cId="3167319179" sldId="2147483566"/>
            <ac:spMk id="130" creationId="{CE7F4600-C13B-2396-2C4A-6EEF45CAC161}"/>
          </ac:spMkLst>
        </pc:spChg>
        <pc:picChg chg="mod">
          <ac:chgData name="Rienks, Rutger" userId="66af6280-af5f-4585-9380-ff89c9177423" providerId="ADAL" clId="{140DD42F-A2B8-4501-82CC-C11D0E6300B1}" dt="2026-03-06T21:29:37.676" v="771" actId="207"/>
          <ac:picMkLst>
            <pc:docMk/>
            <pc:sldMk cId="3167319179" sldId="2147483566"/>
            <ac:picMk id="6" creationId="{CDCC16E6-E834-0203-AE65-6A60E17E8C69}"/>
          </ac:picMkLst>
        </pc:picChg>
        <pc:picChg chg="add mod">
          <ac:chgData name="Rienks, Rutger" userId="66af6280-af5f-4585-9380-ff89c9177423" providerId="ADAL" clId="{140DD42F-A2B8-4501-82CC-C11D0E6300B1}" dt="2026-03-06T21:29:53.662" v="778" actId="1036"/>
          <ac:picMkLst>
            <pc:docMk/>
            <pc:sldMk cId="3167319179" sldId="2147483566"/>
            <ac:picMk id="35" creationId="{6069CA75-5FCA-1008-0962-FE3DCDA9AE6A}"/>
          </ac:picMkLst>
        </pc:picChg>
        <pc:picChg chg="mod">
          <ac:chgData name="Rienks, Rutger" userId="66af6280-af5f-4585-9380-ff89c9177423" providerId="ADAL" clId="{140DD42F-A2B8-4501-82CC-C11D0E6300B1}" dt="2026-03-06T21:29:37.523" v="741" actId="207"/>
          <ac:picMkLst>
            <pc:docMk/>
            <pc:sldMk cId="3167319179" sldId="2147483566"/>
            <ac:picMk id="127" creationId="{AC9F964F-9D15-3106-52E4-C189AFA336D7}"/>
          </ac:picMkLst>
        </pc:picChg>
      </pc:sldChg>
      <pc:sldChg chg="addSp modSp add mod">
        <pc:chgData name="Rienks, Rutger" userId="66af6280-af5f-4585-9380-ff89c9177423" providerId="ADAL" clId="{140DD42F-A2B8-4501-82CC-C11D0E6300B1}" dt="2026-03-06T21:41:12.825" v="875" actId="20577"/>
        <pc:sldMkLst>
          <pc:docMk/>
          <pc:sldMk cId="4110114895" sldId="2147483580"/>
        </pc:sldMkLst>
        <pc:spChg chg="add mod ord">
          <ac:chgData name="Rienks, Rutger" userId="66af6280-af5f-4585-9380-ff89c9177423" providerId="ADAL" clId="{140DD42F-A2B8-4501-82CC-C11D0E6300B1}" dt="2026-03-06T21:38:37.603" v="863" actId="167"/>
          <ac:spMkLst>
            <pc:docMk/>
            <pc:sldMk cId="4110114895" sldId="2147483580"/>
            <ac:spMk id="5" creationId="{D6475B64-E241-1839-CC56-0EE6AB0B3566}"/>
          </ac:spMkLst>
        </pc:spChg>
        <pc:graphicFrameChg chg="modGraphic">
          <ac:chgData name="Rienks, Rutger" userId="66af6280-af5f-4585-9380-ff89c9177423" providerId="ADAL" clId="{140DD42F-A2B8-4501-82CC-C11D0E6300B1}" dt="2026-03-06T21:41:12.825" v="875" actId="20577"/>
          <ac:graphicFrameMkLst>
            <pc:docMk/>
            <pc:sldMk cId="4110114895" sldId="2147483580"/>
            <ac:graphicFrameMk id="4" creationId="{D1B60A2D-9640-3F2F-389A-76A5C597E111}"/>
          </ac:graphicFrameMkLst>
        </pc:graphicFrameChg>
      </pc:sldChg>
      <pc:sldChg chg="addSp modSp add mod">
        <pc:chgData name="Rienks, Rutger" userId="66af6280-af5f-4585-9380-ff89c9177423" providerId="ADAL" clId="{140DD42F-A2B8-4501-82CC-C11D0E6300B1}" dt="2026-03-06T21:38:47.149" v="865" actId="167"/>
        <pc:sldMkLst>
          <pc:docMk/>
          <pc:sldMk cId="502668721" sldId="2147483585"/>
        </pc:sldMkLst>
        <pc:spChg chg="add mod ord">
          <ac:chgData name="Rienks, Rutger" userId="66af6280-af5f-4585-9380-ff89c9177423" providerId="ADAL" clId="{140DD42F-A2B8-4501-82CC-C11D0E6300B1}" dt="2026-03-06T21:38:47.149" v="865" actId="167"/>
          <ac:spMkLst>
            <pc:docMk/>
            <pc:sldMk cId="502668721" sldId="2147483585"/>
            <ac:spMk id="5" creationId="{44332505-8476-F0F6-235D-2F49F5CA3844}"/>
          </ac:spMkLst>
        </pc:spChg>
      </pc:sldChg>
      <pc:sldChg chg="addSp delSp modSp new mod">
        <pc:chgData name="Rienks, Rutger" userId="66af6280-af5f-4585-9380-ff89c9177423" providerId="ADAL" clId="{140DD42F-A2B8-4501-82CC-C11D0E6300B1}" dt="2026-03-06T19:00:23.762" v="309" actId="21"/>
        <pc:sldMkLst>
          <pc:docMk/>
          <pc:sldMk cId="2307050391" sldId="2147483586"/>
        </pc:sldMkLst>
        <pc:spChg chg="del">
          <ac:chgData name="Rienks, Rutger" userId="66af6280-af5f-4585-9380-ff89c9177423" providerId="ADAL" clId="{140DD42F-A2B8-4501-82CC-C11D0E6300B1}" dt="2026-03-06T18:11:55.110" v="288" actId="478"/>
          <ac:spMkLst>
            <pc:docMk/>
            <pc:sldMk cId="2307050391" sldId="2147483586"/>
            <ac:spMk id="2" creationId="{A6E09F2F-9A90-FAFB-67F4-20752D438C5C}"/>
          </ac:spMkLst>
        </pc:spChg>
        <pc:spChg chg="del">
          <ac:chgData name="Rienks, Rutger" userId="66af6280-af5f-4585-9380-ff89c9177423" providerId="ADAL" clId="{140DD42F-A2B8-4501-82CC-C11D0E6300B1}" dt="2026-03-06T18:11:57.942" v="289" actId="478"/>
          <ac:spMkLst>
            <pc:docMk/>
            <pc:sldMk cId="2307050391" sldId="2147483586"/>
            <ac:spMk id="3" creationId="{68E79E28-10C5-9BBF-8F02-CE8037C44EA0}"/>
          </ac:spMkLst>
        </pc:spChg>
        <pc:spChg chg="add mod">
          <ac:chgData name="Rienks, Rutger" userId="66af6280-af5f-4585-9380-ff89c9177423" providerId="ADAL" clId="{140DD42F-A2B8-4501-82CC-C11D0E6300B1}" dt="2026-03-06T18:12:22.741" v="303" actId="207"/>
          <ac:spMkLst>
            <pc:docMk/>
            <pc:sldMk cId="2307050391" sldId="2147483586"/>
            <ac:spMk id="6" creationId="{4CF9BCDF-9836-B66D-7897-8DD8DD399F36}"/>
          </ac:spMkLst>
        </pc:spChg>
        <pc:picChg chg="add ord">
          <ac:chgData name="Rienks, Rutger" userId="66af6280-af5f-4585-9380-ff89c9177423" providerId="ADAL" clId="{140DD42F-A2B8-4501-82CC-C11D0E6300B1}" dt="2026-03-06T18:12:30.110" v="304" actId="166"/>
          <ac:picMkLst>
            <pc:docMk/>
            <pc:sldMk cId="2307050391" sldId="2147483586"/>
            <ac:picMk id="5" creationId="{031D77EB-E398-E032-537E-526D5D13D60F}"/>
          </ac:picMkLst>
        </pc:picChg>
        <pc:picChg chg="add del mod">
          <ac:chgData name="Rienks, Rutger" userId="66af6280-af5f-4585-9380-ff89c9177423" providerId="ADAL" clId="{140DD42F-A2B8-4501-82CC-C11D0E6300B1}" dt="2026-03-06T19:00:23.762" v="309" actId="21"/>
          <ac:picMkLst>
            <pc:docMk/>
            <pc:sldMk cId="2307050391" sldId="2147483586"/>
            <ac:picMk id="8" creationId="{7A711723-C7C0-1E90-0AC6-BB3C4E6051D4}"/>
          </ac:picMkLst>
        </pc:picChg>
      </pc:sldChg>
      <pc:sldChg chg="addSp delSp modSp new del mod">
        <pc:chgData name="Rienks, Rutger" userId="66af6280-af5f-4585-9380-ff89c9177423" providerId="ADAL" clId="{140DD42F-A2B8-4501-82CC-C11D0E6300B1}" dt="2026-03-06T21:34:31.243" v="820" actId="47"/>
        <pc:sldMkLst>
          <pc:docMk/>
          <pc:sldMk cId="1869212587" sldId="2147483587"/>
        </pc:sldMkLst>
        <pc:spChg chg="del">
          <ac:chgData name="Rienks, Rutger" userId="66af6280-af5f-4585-9380-ff89c9177423" providerId="ADAL" clId="{140DD42F-A2B8-4501-82CC-C11D0E6300B1}" dt="2026-03-06T19:00:37.299" v="311" actId="478"/>
          <ac:spMkLst>
            <pc:docMk/>
            <pc:sldMk cId="1869212587" sldId="2147483587"/>
            <ac:spMk id="2" creationId="{8A93DBF7-81D5-263C-47DC-23CE9B2A9EDE}"/>
          </ac:spMkLst>
        </pc:spChg>
        <pc:spChg chg="del">
          <ac:chgData name="Rienks, Rutger" userId="66af6280-af5f-4585-9380-ff89c9177423" providerId="ADAL" clId="{140DD42F-A2B8-4501-82CC-C11D0E6300B1}" dt="2026-03-06T19:00:48.420" v="314" actId="478"/>
          <ac:spMkLst>
            <pc:docMk/>
            <pc:sldMk cId="1869212587" sldId="2147483587"/>
            <ac:spMk id="3" creationId="{9C211EC1-A40A-65F5-E5BD-60165C587C91}"/>
          </ac:spMkLst>
        </pc:spChg>
        <pc:picChg chg="add mod">
          <ac:chgData name="Rienks, Rutger" userId="66af6280-af5f-4585-9380-ff89c9177423" providerId="ADAL" clId="{140DD42F-A2B8-4501-82CC-C11D0E6300B1}" dt="2026-03-06T19:02:47.176" v="322" actId="14100"/>
          <ac:picMkLst>
            <pc:docMk/>
            <pc:sldMk cId="1869212587" sldId="2147483587"/>
            <ac:picMk id="8" creationId="{7A711723-C7C0-1E90-0AC6-BB3C4E6051D4}"/>
          </ac:picMkLst>
        </pc:picChg>
        <pc:picChg chg="add mod">
          <ac:chgData name="Rienks, Rutger" userId="66af6280-af5f-4585-9380-ff89c9177423" providerId="ADAL" clId="{140DD42F-A2B8-4501-82CC-C11D0E6300B1}" dt="2026-03-06T19:03:48.683" v="333" actId="14100"/>
          <ac:picMkLst>
            <pc:docMk/>
            <pc:sldMk cId="1869212587" sldId="2147483587"/>
            <ac:picMk id="1026" creationId="{7A266997-753E-7541-5D86-22A9715F14E0}"/>
          </ac:picMkLst>
        </pc:picChg>
        <pc:picChg chg="add mod">
          <ac:chgData name="Rienks, Rutger" userId="66af6280-af5f-4585-9380-ff89c9177423" providerId="ADAL" clId="{140DD42F-A2B8-4501-82CC-C11D0E6300B1}" dt="2026-03-06T19:03:32.902" v="331" actId="1076"/>
          <ac:picMkLst>
            <pc:docMk/>
            <pc:sldMk cId="1869212587" sldId="2147483587"/>
            <ac:picMk id="1028" creationId="{1F0AD452-8415-AFEB-0E39-FFD64D9A785D}"/>
          </ac:picMkLst>
        </pc:picChg>
        <pc:picChg chg="add del mod">
          <ac:chgData name="Rienks, Rutger" userId="66af6280-af5f-4585-9380-ff89c9177423" providerId="ADAL" clId="{140DD42F-A2B8-4501-82CC-C11D0E6300B1}" dt="2026-03-06T19:02:43.403" v="321" actId="478"/>
          <ac:picMkLst>
            <pc:docMk/>
            <pc:sldMk cId="1869212587" sldId="2147483587"/>
            <ac:picMk id="1030" creationId="{404B98FE-AF4D-38CC-C9B5-5815D65FD70C}"/>
          </ac:picMkLst>
        </pc:picChg>
        <pc:picChg chg="add mod">
          <ac:chgData name="Rienks, Rutger" userId="66af6280-af5f-4585-9380-ff89c9177423" providerId="ADAL" clId="{140DD42F-A2B8-4501-82CC-C11D0E6300B1}" dt="2026-03-06T19:03:52.587" v="335" actId="1076"/>
          <ac:picMkLst>
            <pc:docMk/>
            <pc:sldMk cId="1869212587" sldId="2147483587"/>
            <ac:picMk id="1032" creationId="{04D71702-9FA3-07CD-54FA-1556B9C367A7}"/>
          </ac:picMkLst>
        </pc:picChg>
        <pc:picChg chg="add mod">
          <ac:chgData name="Rienks, Rutger" userId="66af6280-af5f-4585-9380-ff89c9177423" providerId="ADAL" clId="{140DD42F-A2B8-4501-82CC-C11D0E6300B1}" dt="2026-03-06T19:04:33.087" v="337" actId="1076"/>
          <ac:picMkLst>
            <pc:docMk/>
            <pc:sldMk cId="1869212587" sldId="2147483587"/>
            <ac:picMk id="1034" creationId="{1AA2DAAA-5771-98D8-D4CF-A32D2C90124A}"/>
          </ac:picMkLst>
        </pc:picChg>
      </pc:sldChg>
      <pc:sldChg chg="addSp delSp modSp new mod">
        <pc:chgData name="Rienks, Rutger" userId="66af6280-af5f-4585-9380-ff89c9177423" providerId="ADAL" clId="{140DD42F-A2B8-4501-82CC-C11D0E6300B1}" dt="2026-03-06T21:15:30.542" v="627" actId="1076"/>
        <pc:sldMkLst>
          <pc:docMk/>
          <pc:sldMk cId="3803592241" sldId="2147483588"/>
        </pc:sldMkLst>
        <pc:spChg chg="del">
          <ac:chgData name="Rienks, Rutger" userId="66af6280-af5f-4585-9380-ff89c9177423" providerId="ADAL" clId="{140DD42F-A2B8-4501-82CC-C11D0E6300B1}" dt="2026-03-06T20:54:33.566" v="339" actId="478"/>
          <ac:spMkLst>
            <pc:docMk/>
            <pc:sldMk cId="3803592241" sldId="2147483588"/>
            <ac:spMk id="2" creationId="{71C40C73-A0E2-BF29-5951-20B62F20E605}"/>
          </ac:spMkLst>
        </pc:spChg>
        <pc:spChg chg="mod">
          <ac:chgData name="Rienks, Rutger" userId="66af6280-af5f-4585-9380-ff89c9177423" providerId="ADAL" clId="{140DD42F-A2B8-4501-82CC-C11D0E6300B1}" dt="2026-03-06T20:54:40.672" v="366" actId="20577"/>
          <ac:spMkLst>
            <pc:docMk/>
            <pc:sldMk cId="3803592241" sldId="2147483588"/>
            <ac:spMk id="3" creationId="{2C6B598F-2BCB-A1B6-EA4F-ADAE74CDDEE1}"/>
          </ac:spMkLst>
        </pc:spChg>
        <pc:spChg chg="add mod">
          <ac:chgData name="Rienks, Rutger" userId="66af6280-af5f-4585-9380-ff89c9177423" providerId="ADAL" clId="{140DD42F-A2B8-4501-82CC-C11D0E6300B1}" dt="2026-03-06T21:15:30.542" v="627" actId="1076"/>
          <ac:spMkLst>
            <pc:docMk/>
            <pc:sldMk cId="3803592241" sldId="2147483588"/>
            <ac:spMk id="7" creationId="{F35F4E9E-1B00-C03F-8D67-6E1EBAAB2588}"/>
          </ac:spMkLst>
        </pc:spChg>
        <pc:spChg chg="add mod">
          <ac:chgData name="Rienks, Rutger" userId="66af6280-af5f-4585-9380-ff89c9177423" providerId="ADAL" clId="{140DD42F-A2B8-4501-82CC-C11D0E6300B1}" dt="2026-03-06T20:57:00.446" v="442" actId="1076"/>
          <ac:spMkLst>
            <pc:docMk/>
            <pc:sldMk cId="3803592241" sldId="2147483588"/>
            <ac:spMk id="8" creationId="{39F1402A-9DB3-5BCC-8DFB-37FEAE0C0464}"/>
          </ac:spMkLst>
        </pc:spChg>
        <pc:spChg chg="add del">
          <ac:chgData name="Rienks, Rutger" userId="66af6280-af5f-4585-9380-ff89c9177423" providerId="ADAL" clId="{140DD42F-A2B8-4501-82CC-C11D0E6300B1}" dt="2026-03-06T20:57:12.487" v="444" actId="478"/>
          <ac:spMkLst>
            <pc:docMk/>
            <pc:sldMk cId="3803592241" sldId="2147483588"/>
            <ac:spMk id="9" creationId="{970BD043-0C3A-4AB2-EC70-F1A653D6C77F}"/>
          </ac:spMkLst>
        </pc:spChg>
        <pc:spChg chg="add del">
          <ac:chgData name="Rienks, Rutger" userId="66af6280-af5f-4585-9380-ff89c9177423" providerId="ADAL" clId="{140DD42F-A2B8-4501-82CC-C11D0E6300B1}" dt="2026-03-06T21:15:13.419" v="624" actId="478"/>
          <ac:spMkLst>
            <pc:docMk/>
            <pc:sldMk cId="3803592241" sldId="2147483588"/>
            <ac:spMk id="10" creationId="{84CB1265-1EF3-5EA1-5937-359709EEE2AA}"/>
          </ac:spMkLst>
        </pc:spChg>
        <pc:picChg chg="add mod">
          <ac:chgData name="Rienks, Rutger" userId="66af6280-af5f-4585-9380-ff89c9177423" providerId="ADAL" clId="{140DD42F-A2B8-4501-82CC-C11D0E6300B1}" dt="2026-03-06T20:57:16.439" v="445" actId="1440"/>
          <ac:picMkLst>
            <pc:docMk/>
            <pc:sldMk cId="3803592241" sldId="2147483588"/>
            <ac:picMk id="5" creationId="{9C68D1A1-2832-A56E-BFC4-0FF27106BC2E}"/>
          </ac:picMkLst>
        </pc:picChg>
        <pc:picChg chg="add mod ord">
          <ac:chgData name="Rienks, Rutger" userId="66af6280-af5f-4585-9380-ff89c9177423" providerId="ADAL" clId="{140DD42F-A2B8-4501-82CC-C11D0E6300B1}" dt="2026-03-06T21:15:26.081" v="626" actId="167"/>
          <ac:picMkLst>
            <pc:docMk/>
            <pc:sldMk cId="3803592241" sldId="2147483588"/>
            <ac:picMk id="11" creationId="{712DA795-F92E-E735-38C7-8ABD214C3A4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4/2026</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3/2026</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3567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A359A-A86E-9841-6D5B-A0724C163F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83DD1B-CBE6-5748-7B41-860405A43D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7F9097-21FA-896C-09CE-3F345387B6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9AF873-C988-5A59-6EB2-7A238B960ED3}"/>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786033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B9ECD69-BC10-48A7-B9FA-2E691A6711EB}" type="slidenum">
              <a:rPr lang="en-US" smtClean="0"/>
              <a:t>16</a:t>
            </a:fld>
            <a:endParaRPr lang="en-US"/>
          </a:p>
        </p:txBody>
      </p:sp>
    </p:spTree>
    <p:extLst>
      <p:ext uri="{BB962C8B-B14F-4D97-AF65-F5344CB8AC3E}">
        <p14:creationId xmlns:p14="http://schemas.microsoft.com/office/powerpoint/2010/main" val="2371333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9361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827471"/>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430887"/>
          </a:xfrm>
          <a:prstGeom prst="rect">
            <a:avLst/>
          </a:prstGeom>
        </p:spPr>
        <p:txBody>
          <a:bodyPr vert="horz" lIns="0" tIns="0" rIns="0" bIns="0" rtlCol="0" anchor="t" anchorCtr="0">
            <a:spAutoFit/>
          </a:bodyPr>
          <a:lstStyle>
            <a:lvl1pPr>
              <a:defRPr sz="2800">
                <a:latin typeface="+mj-lt"/>
              </a:defRPr>
            </a:lvl1pPr>
          </a:lstStyle>
          <a:p>
            <a:r>
              <a:rPr lang="en-US"/>
              <a:t>Click to add title</a:t>
            </a:r>
          </a:p>
        </p:txBody>
      </p:sp>
    </p:spTree>
    <p:extLst>
      <p:ext uri="{BB962C8B-B14F-4D97-AF65-F5344CB8AC3E}">
        <p14:creationId xmlns:p14="http://schemas.microsoft.com/office/powerpoint/2010/main" val="33631923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18" name="Copyright"/>
          <p:cNvSpPr txBox="1"/>
          <p:nvPr/>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highlight>
                  <a:srgbClr val="FFFF00"/>
                </a:highlight>
                <a:latin typeface="Aptos" panose="020B0004020202020204" pitchFamily="34" charset="0"/>
                <a:cs typeface="Calibri" panose="020F0502020204030204" pitchFamily="34" charset="0"/>
              </a:rPr>
              <a:t>© 202X Legal Entity </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293527395"/>
      </p:ext>
    </p:extLst>
  </p:cSld>
  <p:clrMap bg1="lt1" tx1="dk1" bg2="lt2" tx2="dk2" accent1="accent1" accent2="accent2" accent3="accent3" accent4="accent4" accent5="accent5" accent6="accent6" hlink="hlink" folHlink="folHlink"/>
  <p:sldLayoutIdLst>
    <p:sldLayoutId id="2147484127" r:id="rId1"/>
    <p:sldLayoutId id="2147484128" r:id="rId2"/>
  </p:sldLayoutIdLst>
  <p:transition>
    <p:fade/>
  </p:transition>
  <p:hf hdr="0" dt="0"/>
  <p:txStyles>
    <p:titleStyle>
      <a:lvl1pPr algn="l" defTabSz="685800" rtl="0" eaLnBrk="1" latinLnBrk="0" hangingPunct="1">
        <a:spcBef>
          <a:spcPct val="0"/>
        </a:spcBef>
        <a:buNone/>
        <a:defRPr lang="en-US" sz="2400" b="0" kern="1200" noProof="0" dirty="0">
          <a:solidFill>
            <a:schemeClr val="bg1">
              <a:lumMod val="50000"/>
            </a:schemeClr>
          </a:solidFill>
          <a:latin typeface="Aptos" panose="020B0004020202020204" pitchFamily="34" charset="0"/>
          <a:ea typeface="+mn-ea"/>
          <a:cs typeface="Open Sans" panose="020B060603050402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Aptos" panose="020B0004020202020204" pitchFamily="34" charset="0"/>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85" orient="horz" pos="4008" userDrawn="1">
          <p15:clr>
            <a:srgbClr val="F26B43"/>
          </p15:clr>
        </p15:guide>
        <p15:guide id="87" orient="horz" pos="4104" userDrawn="1">
          <p15:clr>
            <a:srgbClr val="F26B43"/>
          </p15:clr>
        </p15:guide>
        <p15:guide id="88" orient="horz" pos="1080" userDrawn="1">
          <p15:clr>
            <a:srgbClr val="F26B43"/>
          </p15:clr>
        </p15:guide>
        <p15:guide id="90" pos="3840" userDrawn="1">
          <p15:clr>
            <a:srgbClr val="F26B43"/>
          </p15:clr>
        </p15:guide>
        <p15:guide id="93" pos="3744" userDrawn="1">
          <p15:clr>
            <a:srgbClr val="F26B43"/>
          </p15:clr>
        </p15:guide>
        <p15:guide id="94" pos="7392" userDrawn="1">
          <p15:clr>
            <a:srgbClr val="F26B43"/>
          </p15:clr>
        </p15:guide>
        <p15:guide id="95" pos="3936" userDrawn="1">
          <p15:clr>
            <a:srgbClr val="F26B43"/>
          </p15:clr>
        </p15:guide>
        <p15:guide id="96" orient="horz" pos="216" userDrawn="1">
          <p15:clr>
            <a:srgbClr val="F26B43"/>
          </p15:clr>
        </p15:guide>
        <p15:guide id="97" orient="horz" pos="432" userDrawn="1">
          <p15:clr>
            <a:srgbClr val="F26B43"/>
          </p15:clr>
        </p15:guide>
        <p15:guide id="98" pos="2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svg"/><Relationship Id="rId7"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Layout" Target="../slideLayouts/slideLayout1.xml"/><Relationship Id="rId6" Type="http://schemas.openxmlformats.org/officeDocument/2006/relationships/image" Target="../media/image30.png"/><Relationship Id="rId5" Type="http://schemas.openxmlformats.org/officeDocument/2006/relationships/image" Target="../media/image29.svg"/><Relationship Id="rId10" Type="http://schemas.openxmlformats.org/officeDocument/2006/relationships/image" Target="../media/image5.png"/><Relationship Id="rId4" Type="http://schemas.openxmlformats.org/officeDocument/2006/relationships/image" Target="../media/image28.png"/><Relationship Id="rId9" Type="http://schemas.openxmlformats.org/officeDocument/2006/relationships/image" Target="../media/image33.sv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svg"/><Relationship Id="rId7" Type="http://schemas.openxmlformats.org/officeDocument/2006/relationships/image" Target="../media/image39.svg"/><Relationship Id="rId12" Type="http://schemas.openxmlformats.org/officeDocument/2006/relationships/image" Target="../media/image5.png"/><Relationship Id="rId2" Type="http://schemas.openxmlformats.org/officeDocument/2006/relationships/image" Target="../media/image34.png"/><Relationship Id="rId1" Type="http://schemas.openxmlformats.org/officeDocument/2006/relationships/slideLayout" Target="../slideLayouts/slideLayout1.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sv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svg"/></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37.svg"/><Relationship Id="rId7" Type="http://schemas.openxmlformats.org/officeDocument/2006/relationships/image" Target="../media/image47.svg"/><Relationship Id="rId12" Type="http://schemas.openxmlformats.org/officeDocument/2006/relationships/image" Target="../media/image5.png"/><Relationship Id="rId2" Type="http://schemas.openxmlformats.org/officeDocument/2006/relationships/image" Target="../media/image36.png"/><Relationship Id="rId1" Type="http://schemas.openxmlformats.org/officeDocument/2006/relationships/slideLayout" Target="../slideLayouts/slideLayout1.xml"/><Relationship Id="rId6" Type="http://schemas.openxmlformats.org/officeDocument/2006/relationships/image" Target="../media/image46.png"/><Relationship Id="rId11" Type="http://schemas.openxmlformats.org/officeDocument/2006/relationships/image" Target="../media/image51.svg"/><Relationship Id="rId5" Type="http://schemas.openxmlformats.org/officeDocument/2006/relationships/image" Target="../media/image45.sv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svg"/></Relationships>
</file>

<file path=ppt/slides/_rels/slide1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svg"/><Relationship Id="rId7" Type="http://schemas.openxmlformats.org/officeDocument/2006/relationships/image" Target="../media/image57.svg"/><Relationship Id="rId12" Type="http://schemas.openxmlformats.org/officeDocument/2006/relationships/image" Target="../media/image5.png"/><Relationship Id="rId2" Type="http://schemas.openxmlformats.org/officeDocument/2006/relationships/image" Target="../media/image52.png"/><Relationship Id="rId1" Type="http://schemas.openxmlformats.org/officeDocument/2006/relationships/slideLayout" Target="../slideLayouts/slideLayout1.xml"/><Relationship Id="rId6" Type="http://schemas.openxmlformats.org/officeDocument/2006/relationships/image" Target="../media/image56.png"/><Relationship Id="rId11" Type="http://schemas.openxmlformats.org/officeDocument/2006/relationships/image" Target="../media/image16.svg"/><Relationship Id="rId5" Type="http://schemas.openxmlformats.org/officeDocument/2006/relationships/image" Target="../media/image55.svg"/><Relationship Id="rId10" Type="http://schemas.openxmlformats.org/officeDocument/2006/relationships/image" Target="../media/image15.png"/><Relationship Id="rId4" Type="http://schemas.openxmlformats.org/officeDocument/2006/relationships/image" Target="../media/image54.png"/><Relationship Id="rId9" Type="http://schemas.openxmlformats.org/officeDocument/2006/relationships/image" Target="../media/image59.svg"/></Relationships>
</file>

<file path=ppt/slides/_rels/slide14.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svg"/><Relationship Id="rId18" Type="http://schemas.openxmlformats.org/officeDocument/2006/relationships/image" Target="../media/image75.png"/><Relationship Id="rId3" Type="http://schemas.openxmlformats.org/officeDocument/2006/relationships/image" Target="../media/image60.png"/><Relationship Id="rId21" Type="http://schemas.openxmlformats.org/officeDocument/2006/relationships/image" Target="../media/image78.svg"/><Relationship Id="rId7" Type="http://schemas.openxmlformats.org/officeDocument/2006/relationships/image" Target="../media/image64.emf"/><Relationship Id="rId12" Type="http://schemas.openxmlformats.org/officeDocument/2006/relationships/image" Target="../media/image69.png"/><Relationship Id="rId17" Type="http://schemas.openxmlformats.org/officeDocument/2006/relationships/image" Target="../media/image74.svg"/><Relationship Id="rId2" Type="http://schemas.openxmlformats.org/officeDocument/2006/relationships/notesSlide" Target="../notesSlides/notesSlide2.xml"/><Relationship Id="rId16" Type="http://schemas.openxmlformats.org/officeDocument/2006/relationships/image" Target="../media/image73.png"/><Relationship Id="rId20" Type="http://schemas.openxmlformats.org/officeDocument/2006/relationships/image" Target="../media/image77.png"/><Relationship Id="rId1" Type="http://schemas.openxmlformats.org/officeDocument/2006/relationships/slideLayout" Target="../slideLayouts/slideLayout1.xml"/><Relationship Id="rId6" Type="http://schemas.openxmlformats.org/officeDocument/2006/relationships/image" Target="../media/image63.sv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2.svg"/><Relationship Id="rId10" Type="http://schemas.openxmlformats.org/officeDocument/2006/relationships/image" Target="../media/image67.png"/><Relationship Id="rId19" Type="http://schemas.openxmlformats.org/officeDocument/2006/relationships/image" Target="../media/image76.svg"/><Relationship Id="rId4" Type="http://schemas.openxmlformats.org/officeDocument/2006/relationships/image" Target="../media/image61.svg"/><Relationship Id="rId9" Type="http://schemas.openxmlformats.org/officeDocument/2006/relationships/image" Target="../media/image66.svg"/><Relationship Id="rId14" Type="http://schemas.openxmlformats.org/officeDocument/2006/relationships/image" Target="../media/image71.png"/></Relationships>
</file>

<file path=ppt/slides/_rels/slide1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2.xml"/><Relationship Id="rId4" Type="http://schemas.openxmlformats.org/officeDocument/2006/relationships/image" Target="../media/image8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6.sv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svg"/><Relationship Id="rId10" Type="http://schemas.openxmlformats.org/officeDocument/2006/relationships/image" Target="../media/image5.png"/><Relationship Id="rId4" Type="http://schemas.openxmlformats.org/officeDocument/2006/relationships/image" Target="../media/image20.png"/><Relationship Id="rId9" Type="http://schemas.openxmlformats.org/officeDocument/2006/relationships/image" Target="../media/image2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age.png"/>
          <p:cNvPicPr>
            <a:picLocks noChangeAspect="1"/>
          </p:cNvPicPr>
          <p:nvPr/>
        </p:nvPicPr>
        <p:blipFill>
          <a:blip r:embed="rId2"/>
          <a:stretch>
            <a:fillRect/>
          </a:stretch>
        </p:blipFill>
        <p:spPr>
          <a:xfrm>
            <a:off x="6363812" y="-161053"/>
            <a:ext cx="6590188" cy="6590188"/>
          </a:xfrm>
          <a:prstGeom prst="rect">
            <a:avLst/>
          </a:prstGeom>
        </p:spPr>
      </p:pic>
      <p:pic>
        <p:nvPicPr>
          <p:cNvPr id="3" name="Picture 2" descr="image.png"/>
          <p:cNvPicPr>
            <a:picLocks noChangeAspect="1"/>
          </p:cNvPicPr>
          <p:nvPr/>
        </p:nvPicPr>
        <p:blipFill>
          <a:blip r:embed="rId3"/>
          <a:stretch>
            <a:fillRect/>
          </a:stretch>
        </p:blipFill>
        <p:spPr>
          <a:xfrm>
            <a:off x="5753742" y="5330405"/>
            <a:ext cx="6101649" cy="1098730"/>
          </a:xfrm>
          <a:prstGeom prst="rect">
            <a:avLst/>
          </a:prstGeom>
        </p:spPr>
      </p:pic>
      <p:sp>
        <p:nvSpPr>
          <p:cNvPr id="9" name="Title 1">
            <a:extLst>
              <a:ext uri="{FF2B5EF4-FFF2-40B4-BE49-F238E27FC236}">
                <a16:creationId xmlns:a16="http://schemas.microsoft.com/office/drawing/2014/main" id="{0892BD4A-6D8E-DB18-715C-D8EA2DB473E4}"/>
              </a:ext>
            </a:extLst>
          </p:cNvPr>
          <p:cNvSpPr txBox="1">
            <a:spLocks/>
          </p:cNvSpPr>
          <p:nvPr/>
        </p:nvSpPr>
        <p:spPr>
          <a:xfrm>
            <a:off x="926196" y="2355781"/>
            <a:ext cx="5100955" cy="1824333"/>
          </a:xfrm>
          <a:prstGeom prst="rect">
            <a:avLst/>
          </a:prstGeom>
        </p:spPr>
        <p:txBody>
          <a:bodyPr>
            <a:normAutofit lnSpcReduction="10000"/>
          </a:bodyPr>
          <a:lstStyle>
            <a:lvl1pPr algn="l" defTabSz="914400" rtl="0" eaLnBrk="1" latinLnBrk="0" hangingPunct="1">
              <a:lnSpc>
                <a:spcPct val="100000"/>
              </a:lnSpc>
              <a:spcBef>
                <a:spcPct val="0"/>
              </a:spcBef>
              <a:spcAft>
                <a:spcPts val="400"/>
              </a:spcAft>
              <a:buNone/>
              <a:defRPr lang="en-US" sz="4000" b="0" i="0" kern="1200" dirty="0">
                <a:solidFill>
                  <a:srgbClr val="036A38"/>
                </a:solidFill>
                <a:latin typeface="Aptos Light" panose="020B0004020202020204" pitchFamily="34" charset="0"/>
                <a:ea typeface="+mj-ea"/>
                <a:cs typeface="Calibri Light" panose="020F0302020204030204" pitchFamily="34" charset="0"/>
              </a:defRPr>
            </a:lvl1pPr>
          </a:lstStyle>
          <a:p>
            <a:r>
              <a:rPr dirty="0">
                <a:solidFill>
                  <a:schemeClr val="accent6">
                    <a:lumMod val="100000"/>
                  </a:schemeClr>
                </a:solidFill>
                <a:latin typeface="Open Sans Bold"/>
              </a:rPr>
              <a:t>New Times: From Data for AI to AI for Data</a:t>
            </a:r>
            <a:endParaRPr lang="en-GB" dirty="0">
              <a:solidFill>
                <a:schemeClr val="accent6">
                  <a:lumMod val="100000"/>
                </a:schemeClr>
              </a:solidFill>
            </a:endParaRPr>
          </a:p>
        </p:txBody>
      </p:sp>
      <p:sp>
        <p:nvSpPr>
          <p:cNvPr id="10" name="Text Placeholder 7" descr="Short subtitle if needed. Maximum 5 words.">
            <a:extLst>
              <a:ext uri="{FF2B5EF4-FFF2-40B4-BE49-F238E27FC236}">
                <a16:creationId xmlns:a16="http://schemas.microsoft.com/office/drawing/2014/main" id="{EE6E3A37-BD04-6FDC-79EA-7AD5F5320EF2}"/>
              </a:ext>
            </a:extLst>
          </p:cNvPr>
          <p:cNvSpPr txBox="1">
            <a:spLocks/>
          </p:cNvSpPr>
          <p:nvPr/>
        </p:nvSpPr>
        <p:spPr>
          <a:xfrm>
            <a:off x="926195" y="4537664"/>
            <a:ext cx="4980136" cy="263525"/>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400" b="0" i="0" kern="1200">
                <a:solidFill>
                  <a:schemeClr val="tx1"/>
                </a:solidFill>
                <a:latin typeface="Aptos Light" panose="020B0004020202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latin typeface="Open Sans Bold"/>
              </a:rPr>
              <a:t>Rutger Rienks</a:t>
            </a:r>
            <a:endParaRPr dirty="0">
              <a:latin typeface="Open Sans Bold"/>
            </a:endParaRPr>
          </a:p>
        </p:txBody>
      </p:sp>
      <p:sp>
        <p:nvSpPr>
          <p:cNvPr id="5" name="Rectangle 4">
            <a:extLst>
              <a:ext uri="{FF2B5EF4-FFF2-40B4-BE49-F238E27FC236}">
                <a16:creationId xmlns:a16="http://schemas.microsoft.com/office/drawing/2014/main" id="{BB2FD7B3-6AE4-48C4-82CA-C27C799089D7}"/>
              </a:ext>
            </a:extLst>
          </p:cNvPr>
          <p:cNvSpPr/>
          <p:nvPr/>
        </p:nvSpPr>
        <p:spPr bwMode="gray">
          <a:xfrm>
            <a:off x="285750" y="6429135"/>
            <a:ext cx="1328738" cy="42886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069093D-8F45-0EDE-A388-0517A52AF983}"/>
              </a:ext>
            </a:extLst>
          </p:cNvPr>
          <p:cNvSpPr txBox="1"/>
          <p:nvPr/>
        </p:nvSpPr>
        <p:spPr>
          <a:xfrm>
            <a:off x="3048662" y="356868"/>
            <a:ext cx="7399351" cy="1200329"/>
          </a:xfrm>
          <a:prstGeom prst="rect">
            <a:avLst/>
          </a:prstGeom>
          <a:noFill/>
        </p:spPr>
        <p:txBody>
          <a:bodyPr wrap="square">
            <a:spAutoFit/>
          </a:bodyPr>
          <a:lstStyle/>
          <a:p>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The lifecycle of data, encompassing its origins, movements, transformations, and ultimate destination. It provides a detailed map of how data flows through an organization, from its initial creation or acquisition to its final use</a:t>
            </a:r>
          </a:p>
        </p:txBody>
      </p:sp>
      <p:grpSp>
        <p:nvGrpSpPr>
          <p:cNvPr id="4" name="Group 3">
            <a:extLst>
              <a:ext uri="{FF2B5EF4-FFF2-40B4-BE49-F238E27FC236}">
                <a16:creationId xmlns:a16="http://schemas.microsoft.com/office/drawing/2014/main" id="{69935050-9E81-7A1C-56A8-7915651F97AA}"/>
              </a:ext>
            </a:extLst>
          </p:cNvPr>
          <p:cNvGrpSpPr/>
          <p:nvPr/>
        </p:nvGrpSpPr>
        <p:grpSpPr>
          <a:xfrm>
            <a:off x="405630" y="2804264"/>
            <a:ext cx="6461361" cy="2807927"/>
            <a:chOff x="413572" y="1997069"/>
            <a:chExt cx="6461361" cy="2807927"/>
          </a:xfrm>
        </p:grpSpPr>
        <p:sp>
          <p:nvSpPr>
            <p:cNvPr id="5" name="object 22">
              <a:extLst>
                <a:ext uri="{FF2B5EF4-FFF2-40B4-BE49-F238E27FC236}">
                  <a16:creationId xmlns:a16="http://schemas.microsoft.com/office/drawing/2014/main" id="{A3960FD0-C463-B0DC-F317-4E3DE6F7C036}"/>
                </a:ext>
              </a:extLst>
            </p:cNvPr>
            <p:cNvSpPr txBox="1"/>
            <p:nvPr/>
          </p:nvSpPr>
          <p:spPr>
            <a:xfrm>
              <a:off x="413572" y="1997069"/>
              <a:ext cx="6461361" cy="1172757"/>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400" b="1" i="1"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Key Data Lineage Capabilities: </a:t>
              </a:r>
              <a:endParaRPr kumimoji="0" lang="en-US" sz="14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558800" marR="0" lvl="0" indent="0" algn="l" defTabSz="914400" rtl="0" eaLnBrk="1" fontAlgn="auto" latinLnBrk="0" hangingPunct="1">
                <a:lnSpc>
                  <a:spcPct val="100000"/>
                </a:lnSpc>
                <a:spcBef>
                  <a:spcPts val="960"/>
                </a:spcBef>
                <a:spcAft>
                  <a:spcPts val="0"/>
                </a:spcAft>
                <a:buClrTx/>
                <a:buSzTx/>
                <a:buFontTx/>
                <a:buNone/>
                <a:tabLst>
                  <a:tab pos="730250" algn="l"/>
                </a:tabLst>
                <a:defRPr/>
              </a:pPr>
              <a:r>
                <a:rPr kumimoji="0" lang="en-US" sz="1200" b="1"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Lineage: </a:t>
              </a:r>
              <a:r>
                <a:rPr kumimoji="0" lang="en-US" sz="1200" b="0"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Ability to trace data from its origin to its destruction</a:t>
              </a:r>
            </a:p>
            <a:p>
              <a:pPr marL="558800" marR="0" lvl="0" indent="0" algn="l" defTabSz="914400" rtl="0" eaLnBrk="1" fontAlgn="auto" latinLnBrk="0" hangingPunct="1">
                <a:lnSpc>
                  <a:spcPct val="100000"/>
                </a:lnSpc>
                <a:spcBef>
                  <a:spcPts val="600"/>
                </a:spcBef>
                <a:spcAft>
                  <a:spcPts val="0"/>
                </a:spcAft>
                <a:buClrTx/>
                <a:buSzTx/>
                <a:buFontTx/>
                <a:buNone/>
                <a:tabLst>
                  <a:tab pos="730250" algn="l"/>
                </a:tabLst>
                <a:defRPr/>
              </a:pPr>
              <a:r>
                <a:rPr kumimoji="0" lang="en-US" sz="1200" b="1"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Compliance &amp; Anomaly Detection: </a:t>
              </a:r>
              <a:r>
                <a:rPr kumimoji="0" lang="en-US" sz="1200" b="0"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Ensuring data meets regulatory compliance at each step of the data lifecycle, with AI-driven anomaly detection to mitigate risk and operational disruption.</a:t>
              </a:r>
            </a:p>
          </p:txBody>
        </p:sp>
        <p:sp>
          <p:nvSpPr>
            <p:cNvPr id="6" name="object 28">
              <a:extLst>
                <a:ext uri="{FF2B5EF4-FFF2-40B4-BE49-F238E27FC236}">
                  <a16:creationId xmlns:a16="http://schemas.microsoft.com/office/drawing/2014/main" id="{C1861857-5A39-C159-E956-94FD8298A1AA}"/>
                </a:ext>
              </a:extLst>
            </p:cNvPr>
            <p:cNvSpPr txBox="1"/>
            <p:nvPr/>
          </p:nvSpPr>
          <p:spPr>
            <a:xfrm>
              <a:off x="415473" y="3314203"/>
              <a:ext cx="6441231" cy="1490793"/>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400" b="1" i="1"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How AI/GenAI Enhances Data Lineage:</a:t>
              </a:r>
              <a:endParaRPr kumimoji="0" lang="en-US" sz="1400" b="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558800" marR="0" lvl="0" indent="0" algn="l" defTabSz="914400" rtl="0" eaLnBrk="1" fontAlgn="auto" latinLnBrk="0" hangingPunct="1">
                <a:lnSpc>
                  <a:spcPct val="100000"/>
                </a:lnSpc>
                <a:spcBef>
                  <a:spcPts val="600"/>
                </a:spcBef>
                <a:spcAft>
                  <a:spcPts val="0"/>
                </a:spcAft>
                <a:buClrTx/>
                <a:buSzTx/>
                <a:buFontTx/>
                <a:buNone/>
                <a:tabLst>
                  <a:tab pos="730250" algn="l"/>
                </a:tabLst>
                <a:defRPr/>
              </a:pPr>
              <a:r>
                <a:rPr kumimoji="0" lang="en-US" sz="1200" b="1"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Contextual Data Lineage Visualization: </a:t>
              </a:r>
              <a:r>
                <a:rPr kumimoji="0" lang="en-US" sz="1200" b="0"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AI-powered tools offer customizable, interactive visualizations of data lineage, enhancing understanding and decision-making by illustrating data flows and transformations across the organization.</a:t>
              </a:r>
              <a:endParaRPr lang="en-US" sz="1200" kern="0" dirty="0">
                <a:solidFill>
                  <a:srgbClr val="3E3E3E"/>
                </a:solidFill>
                <a:latin typeface="Open Sans" panose="020B0606030504020204" pitchFamily="34" charset="0"/>
                <a:ea typeface="Open Sans" panose="020B0606030504020204" pitchFamily="34" charset="0"/>
                <a:cs typeface="Open Sans" panose="020B0606030504020204" pitchFamily="34" charset="0"/>
              </a:endParaRPr>
            </a:p>
            <a:p>
              <a:pPr marL="558800" lvl="0">
                <a:spcBef>
                  <a:spcPts val="600"/>
                </a:spcBef>
                <a:tabLst>
                  <a:tab pos="730250" algn="l"/>
                </a:tabLst>
                <a:defRPr/>
              </a:pPr>
              <a:r>
                <a:rPr kumimoji="0" lang="en-US" sz="1200" b="1"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Advanced Anomaly Detection: </a:t>
              </a:r>
              <a:r>
                <a:rPr kumimoji="0" lang="en-US" sz="1200" b="0"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AI algorithms can detect anomalies and outliers in data lineage, such as unexpected data transformations or unauthorized data access. </a:t>
              </a:r>
            </a:p>
          </p:txBody>
        </p:sp>
      </p:grpSp>
      <p:grpSp>
        <p:nvGrpSpPr>
          <p:cNvPr id="7" name="Group 6">
            <a:extLst>
              <a:ext uri="{FF2B5EF4-FFF2-40B4-BE49-F238E27FC236}">
                <a16:creationId xmlns:a16="http://schemas.microsoft.com/office/drawing/2014/main" id="{C722F557-8C2E-D176-3B4B-1F9FA5B7430B}"/>
              </a:ext>
            </a:extLst>
          </p:cNvPr>
          <p:cNvGrpSpPr/>
          <p:nvPr/>
        </p:nvGrpSpPr>
        <p:grpSpPr>
          <a:xfrm>
            <a:off x="508090" y="3121026"/>
            <a:ext cx="320040" cy="320040"/>
            <a:chOff x="5436742" y="49719"/>
            <a:chExt cx="365760" cy="365760"/>
          </a:xfrm>
          <a:solidFill>
            <a:schemeClr val="accent1"/>
          </a:solidFill>
        </p:grpSpPr>
        <p:sp>
          <p:nvSpPr>
            <p:cNvPr id="8" name="Oval 7">
              <a:extLst>
                <a:ext uri="{FF2B5EF4-FFF2-40B4-BE49-F238E27FC236}">
                  <a16:creationId xmlns:a16="http://schemas.microsoft.com/office/drawing/2014/main" id="{C241A1E4-74C2-CA86-B7B3-FE7F4167D08A}"/>
                </a:ext>
              </a:extLst>
            </p:cNvPr>
            <p:cNvSpPr/>
            <p:nvPr/>
          </p:nvSpPr>
          <p:spPr>
            <a:xfrm>
              <a:off x="5436742" y="49719"/>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9" name="Graphic 8" descr="Circles with arrows outline">
              <a:extLst>
                <a:ext uri="{FF2B5EF4-FFF2-40B4-BE49-F238E27FC236}">
                  <a16:creationId xmlns:a16="http://schemas.microsoft.com/office/drawing/2014/main" id="{544F1186-1D61-17FE-B190-3213BA0F8C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52364" y="65341"/>
              <a:ext cx="334515" cy="334515"/>
            </a:xfrm>
            <a:prstGeom prst="rect">
              <a:avLst/>
            </a:prstGeom>
          </p:spPr>
        </p:pic>
      </p:grpSp>
      <p:grpSp>
        <p:nvGrpSpPr>
          <p:cNvPr id="10" name="Group 9">
            <a:extLst>
              <a:ext uri="{FF2B5EF4-FFF2-40B4-BE49-F238E27FC236}">
                <a16:creationId xmlns:a16="http://schemas.microsoft.com/office/drawing/2014/main" id="{275A3619-3D21-FD67-8939-4DFEDBC9FC70}"/>
              </a:ext>
            </a:extLst>
          </p:cNvPr>
          <p:cNvGrpSpPr/>
          <p:nvPr/>
        </p:nvGrpSpPr>
        <p:grpSpPr>
          <a:xfrm>
            <a:off x="498528" y="3506996"/>
            <a:ext cx="320040" cy="320040"/>
            <a:chOff x="5914134" y="62113"/>
            <a:chExt cx="365760" cy="365760"/>
          </a:xfrm>
          <a:solidFill>
            <a:schemeClr val="accent1"/>
          </a:solidFill>
        </p:grpSpPr>
        <p:sp>
          <p:nvSpPr>
            <p:cNvPr id="11" name="Oval 10">
              <a:extLst>
                <a:ext uri="{FF2B5EF4-FFF2-40B4-BE49-F238E27FC236}">
                  <a16:creationId xmlns:a16="http://schemas.microsoft.com/office/drawing/2014/main" id="{3CD972B4-0B4D-AC17-7CD6-5834653E8C07}"/>
                </a:ext>
              </a:extLst>
            </p:cNvPr>
            <p:cNvSpPr/>
            <p:nvPr/>
          </p:nvSpPr>
          <p:spPr>
            <a:xfrm>
              <a:off x="5914134" y="62113"/>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12" name="Graphic 11" descr="Judge male outline">
              <a:extLst>
                <a:ext uri="{FF2B5EF4-FFF2-40B4-BE49-F238E27FC236}">
                  <a16:creationId xmlns:a16="http://schemas.microsoft.com/office/drawing/2014/main" id="{3D1683BB-7288-8219-4F18-4CA1CE9CC8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62083" y="110062"/>
              <a:ext cx="269862" cy="269862"/>
            </a:xfrm>
            <a:prstGeom prst="rect">
              <a:avLst/>
            </a:prstGeom>
          </p:spPr>
        </p:pic>
      </p:grpSp>
      <p:grpSp>
        <p:nvGrpSpPr>
          <p:cNvPr id="13" name="Group 12">
            <a:extLst>
              <a:ext uri="{FF2B5EF4-FFF2-40B4-BE49-F238E27FC236}">
                <a16:creationId xmlns:a16="http://schemas.microsoft.com/office/drawing/2014/main" id="{143D43DD-F9B9-D9BF-3A85-7151A4186074}"/>
              </a:ext>
            </a:extLst>
          </p:cNvPr>
          <p:cNvGrpSpPr/>
          <p:nvPr/>
        </p:nvGrpSpPr>
        <p:grpSpPr>
          <a:xfrm>
            <a:off x="504116" y="4993426"/>
            <a:ext cx="320040" cy="320040"/>
            <a:chOff x="6909087" y="129118"/>
            <a:chExt cx="365760" cy="365760"/>
          </a:xfrm>
          <a:solidFill>
            <a:schemeClr val="accent3"/>
          </a:solidFill>
        </p:grpSpPr>
        <p:sp>
          <p:nvSpPr>
            <p:cNvPr id="14" name="Oval 13">
              <a:extLst>
                <a:ext uri="{FF2B5EF4-FFF2-40B4-BE49-F238E27FC236}">
                  <a16:creationId xmlns:a16="http://schemas.microsoft.com/office/drawing/2014/main" id="{02E59A11-9C26-F252-55F5-EB44302BAE22}"/>
                </a:ext>
              </a:extLst>
            </p:cNvPr>
            <p:cNvSpPr/>
            <p:nvPr/>
          </p:nvSpPr>
          <p:spPr>
            <a:xfrm>
              <a:off x="6909087" y="129118"/>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15" name="Graphic 14" descr="Thumbs up sign outline">
              <a:extLst>
                <a:ext uri="{FF2B5EF4-FFF2-40B4-BE49-F238E27FC236}">
                  <a16:creationId xmlns:a16="http://schemas.microsoft.com/office/drawing/2014/main" id="{D08D248B-19BF-1CC3-E6FD-992B872B4C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41263" y="161294"/>
              <a:ext cx="301408" cy="301408"/>
            </a:xfrm>
            <a:prstGeom prst="rect">
              <a:avLst/>
            </a:prstGeom>
          </p:spPr>
        </p:pic>
      </p:grpSp>
      <p:grpSp>
        <p:nvGrpSpPr>
          <p:cNvPr id="16" name="Group 15">
            <a:extLst>
              <a:ext uri="{FF2B5EF4-FFF2-40B4-BE49-F238E27FC236}">
                <a16:creationId xmlns:a16="http://schemas.microsoft.com/office/drawing/2014/main" id="{9FF3F607-0310-75E4-55F0-22269A32DA3B}"/>
              </a:ext>
            </a:extLst>
          </p:cNvPr>
          <p:cNvGrpSpPr/>
          <p:nvPr/>
        </p:nvGrpSpPr>
        <p:grpSpPr>
          <a:xfrm>
            <a:off x="505550" y="4429731"/>
            <a:ext cx="320040" cy="320040"/>
            <a:chOff x="7490607" y="99147"/>
            <a:chExt cx="365760" cy="365760"/>
          </a:xfrm>
          <a:solidFill>
            <a:schemeClr val="accent3"/>
          </a:solidFill>
        </p:grpSpPr>
        <p:sp>
          <p:nvSpPr>
            <p:cNvPr id="17" name="Oval 16">
              <a:extLst>
                <a:ext uri="{FF2B5EF4-FFF2-40B4-BE49-F238E27FC236}">
                  <a16:creationId xmlns:a16="http://schemas.microsoft.com/office/drawing/2014/main" id="{1D444586-6F51-4096-CA29-F47EB83FEB0A}"/>
                </a:ext>
              </a:extLst>
            </p:cNvPr>
            <p:cNvSpPr/>
            <p:nvPr/>
          </p:nvSpPr>
          <p:spPr>
            <a:xfrm>
              <a:off x="7490607" y="99147"/>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18" name="Graphic 17" descr="Workflow outline">
              <a:extLst>
                <a:ext uri="{FF2B5EF4-FFF2-40B4-BE49-F238E27FC236}">
                  <a16:creationId xmlns:a16="http://schemas.microsoft.com/office/drawing/2014/main" id="{BABB853A-53FB-06F0-FC74-0742F28254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28367" y="136907"/>
              <a:ext cx="290240" cy="290240"/>
            </a:xfrm>
            <a:prstGeom prst="rect">
              <a:avLst/>
            </a:prstGeom>
          </p:spPr>
        </p:pic>
      </p:grpSp>
      <p:grpSp>
        <p:nvGrpSpPr>
          <p:cNvPr id="33" name="Group 32">
            <a:extLst>
              <a:ext uri="{FF2B5EF4-FFF2-40B4-BE49-F238E27FC236}">
                <a16:creationId xmlns:a16="http://schemas.microsoft.com/office/drawing/2014/main" id="{DCBB8730-5626-AF2E-621A-2C4852C85B28}"/>
              </a:ext>
            </a:extLst>
          </p:cNvPr>
          <p:cNvGrpSpPr/>
          <p:nvPr/>
        </p:nvGrpSpPr>
        <p:grpSpPr>
          <a:xfrm>
            <a:off x="103480" y="213212"/>
            <a:ext cx="2041864" cy="1621781"/>
            <a:chOff x="4666441" y="1943759"/>
            <a:chExt cx="2041864" cy="1621781"/>
          </a:xfrm>
        </p:grpSpPr>
        <p:sp>
          <p:nvSpPr>
            <p:cNvPr id="34" name="TextBox 33">
              <a:extLst>
                <a:ext uri="{FF2B5EF4-FFF2-40B4-BE49-F238E27FC236}">
                  <a16:creationId xmlns:a16="http://schemas.microsoft.com/office/drawing/2014/main" id="{F27E254A-7E42-5B22-D5B0-B94F35AA3D35}"/>
                </a:ext>
              </a:extLst>
            </p:cNvPr>
            <p:cNvSpPr txBox="1"/>
            <p:nvPr/>
          </p:nvSpPr>
          <p:spPr>
            <a:xfrm>
              <a:off x="4666441" y="3196208"/>
              <a:ext cx="2041864" cy="369332"/>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Data Lineage</a:t>
              </a:r>
            </a:p>
          </p:txBody>
        </p:sp>
        <p:grpSp>
          <p:nvGrpSpPr>
            <p:cNvPr id="36" name="Graphic 4">
              <a:extLst>
                <a:ext uri="{FF2B5EF4-FFF2-40B4-BE49-F238E27FC236}">
                  <a16:creationId xmlns:a16="http://schemas.microsoft.com/office/drawing/2014/main" id="{950ED903-14A1-0B9A-EAFA-D2A9BD582C69}"/>
                </a:ext>
              </a:extLst>
            </p:cNvPr>
            <p:cNvGrpSpPr>
              <a:grpSpLocks noChangeAspect="1"/>
            </p:cNvGrpSpPr>
            <p:nvPr/>
          </p:nvGrpSpPr>
          <p:grpSpPr>
            <a:xfrm>
              <a:off x="5225734" y="1943759"/>
              <a:ext cx="923278" cy="922407"/>
              <a:chOff x="1952125" y="4308712"/>
              <a:chExt cx="362313" cy="361971"/>
            </a:xfrm>
            <a:solidFill>
              <a:schemeClr val="accent1"/>
            </a:solidFill>
          </p:grpSpPr>
          <p:sp>
            <p:nvSpPr>
              <p:cNvPr id="37" name="Graphic 4">
                <a:extLst>
                  <a:ext uri="{FF2B5EF4-FFF2-40B4-BE49-F238E27FC236}">
                    <a16:creationId xmlns:a16="http://schemas.microsoft.com/office/drawing/2014/main" id="{E91EF92B-2CFC-57A1-DCC1-829930A22E8D}"/>
                  </a:ext>
                </a:extLst>
              </p:cNvPr>
              <p:cNvSpPr/>
              <p:nvPr/>
            </p:nvSpPr>
            <p:spPr>
              <a:xfrm>
                <a:off x="1952125" y="4308712"/>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305439 w 362313"/>
                  <a:gd name="connsiteY7" fmla="*/ 193435 h 361971"/>
                  <a:gd name="connsiteX8" fmla="*/ 298410 w 362313"/>
                  <a:gd name="connsiteY8" fmla="*/ 203649 h 361971"/>
                  <a:gd name="connsiteX9" fmla="*/ 282435 w 362313"/>
                  <a:gd name="connsiteY9" fmla="*/ 209395 h 361971"/>
                  <a:gd name="connsiteX10" fmla="*/ 276684 w 362313"/>
                  <a:gd name="connsiteY10" fmla="*/ 225355 h 361971"/>
                  <a:gd name="connsiteX11" fmla="*/ 285630 w 362313"/>
                  <a:gd name="connsiteY11" fmla="*/ 240038 h 361971"/>
                  <a:gd name="connsiteX12" fmla="*/ 284991 w 362313"/>
                  <a:gd name="connsiteY12" fmla="*/ 252806 h 361971"/>
                  <a:gd name="connsiteX13" fmla="*/ 269016 w 362313"/>
                  <a:gd name="connsiteY13" fmla="*/ 271958 h 361971"/>
                  <a:gd name="connsiteX14" fmla="*/ 256876 w 362313"/>
                  <a:gd name="connsiteY14" fmla="*/ 275150 h 361971"/>
                  <a:gd name="connsiteX15" fmla="*/ 240901 w 362313"/>
                  <a:gd name="connsiteY15" fmla="*/ 268766 h 361971"/>
                  <a:gd name="connsiteX16" fmla="*/ 226204 w 362313"/>
                  <a:gd name="connsiteY16" fmla="*/ 277065 h 361971"/>
                  <a:gd name="connsiteX17" fmla="*/ 223648 w 362313"/>
                  <a:gd name="connsiteY17" fmla="*/ 294302 h 361971"/>
                  <a:gd name="connsiteX18" fmla="*/ 214702 w 362313"/>
                  <a:gd name="connsiteY18" fmla="*/ 302601 h 361971"/>
                  <a:gd name="connsiteX19" fmla="*/ 190420 w 362313"/>
                  <a:gd name="connsiteY19" fmla="*/ 307070 h 361971"/>
                  <a:gd name="connsiteX20" fmla="*/ 188503 w 362313"/>
                  <a:gd name="connsiteY20" fmla="*/ 307070 h 361971"/>
                  <a:gd name="connsiteX21" fmla="*/ 178918 w 362313"/>
                  <a:gd name="connsiteY21" fmla="*/ 301324 h 361971"/>
                  <a:gd name="connsiteX22" fmla="*/ 170611 w 362313"/>
                  <a:gd name="connsiteY22" fmla="*/ 286641 h 361971"/>
                  <a:gd name="connsiteX23" fmla="*/ 153998 w 362313"/>
                  <a:gd name="connsiteY23" fmla="*/ 283449 h 361971"/>
                  <a:gd name="connsiteX24" fmla="*/ 141218 w 362313"/>
                  <a:gd name="connsiteY24" fmla="*/ 294940 h 361971"/>
                  <a:gd name="connsiteX25" fmla="*/ 128438 w 362313"/>
                  <a:gd name="connsiteY25" fmla="*/ 296217 h 361971"/>
                  <a:gd name="connsiteX26" fmla="*/ 106712 w 362313"/>
                  <a:gd name="connsiteY26" fmla="*/ 284087 h 361971"/>
                  <a:gd name="connsiteX27" fmla="*/ 101600 w 362313"/>
                  <a:gd name="connsiteY27" fmla="*/ 272596 h 361971"/>
                  <a:gd name="connsiteX28" fmla="*/ 104795 w 362313"/>
                  <a:gd name="connsiteY28" fmla="*/ 255998 h 361971"/>
                  <a:gd name="connsiteX29" fmla="*/ 93932 w 362313"/>
                  <a:gd name="connsiteY29" fmla="*/ 243230 h 361971"/>
                  <a:gd name="connsiteX30" fmla="*/ 76679 w 362313"/>
                  <a:gd name="connsiteY30" fmla="*/ 243230 h 361971"/>
                  <a:gd name="connsiteX31" fmla="*/ 66455 w 362313"/>
                  <a:gd name="connsiteY31" fmla="*/ 236207 h 361971"/>
                  <a:gd name="connsiteX32" fmla="*/ 58148 w 362313"/>
                  <a:gd name="connsiteY32" fmla="*/ 213225 h 361971"/>
                  <a:gd name="connsiteX33" fmla="*/ 61343 w 362313"/>
                  <a:gd name="connsiteY33" fmla="*/ 201095 h 361971"/>
                  <a:gd name="connsiteX34" fmla="*/ 74762 w 362313"/>
                  <a:gd name="connsiteY34" fmla="*/ 190243 h 361971"/>
                  <a:gd name="connsiteX35" fmla="*/ 74762 w 362313"/>
                  <a:gd name="connsiteY35" fmla="*/ 173006 h 361971"/>
                  <a:gd name="connsiteX36" fmla="*/ 61343 w 362313"/>
                  <a:gd name="connsiteY36" fmla="*/ 162153 h 361971"/>
                  <a:gd name="connsiteX37" fmla="*/ 58148 w 362313"/>
                  <a:gd name="connsiteY37" fmla="*/ 150024 h 361971"/>
                  <a:gd name="connsiteX38" fmla="*/ 66455 w 362313"/>
                  <a:gd name="connsiteY38" fmla="*/ 127041 h 361971"/>
                  <a:gd name="connsiteX39" fmla="*/ 76679 w 362313"/>
                  <a:gd name="connsiteY39" fmla="*/ 120019 h 361971"/>
                  <a:gd name="connsiteX40" fmla="*/ 93932 w 362313"/>
                  <a:gd name="connsiteY40" fmla="*/ 120657 h 361971"/>
                  <a:gd name="connsiteX41" fmla="*/ 104795 w 362313"/>
                  <a:gd name="connsiteY41" fmla="*/ 107889 h 361971"/>
                  <a:gd name="connsiteX42" fmla="*/ 101600 w 362313"/>
                  <a:gd name="connsiteY42" fmla="*/ 91291 h 361971"/>
                  <a:gd name="connsiteX43" fmla="*/ 106712 w 362313"/>
                  <a:gd name="connsiteY43" fmla="*/ 79800 h 361971"/>
                  <a:gd name="connsiteX44" fmla="*/ 128438 w 362313"/>
                  <a:gd name="connsiteY44" fmla="*/ 67670 h 361971"/>
                  <a:gd name="connsiteX45" fmla="*/ 140579 w 362313"/>
                  <a:gd name="connsiteY45" fmla="*/ 68947 h 361971"/>
                  <a:gd name="connsiteX46" fmla="*/ 153358 w 362313"/>
                  <a:gd name="connsiteY46" fmla="*/ 80438 h 361971"/>
                  <a:gd name="connsiteX47" fmla="*/ 169972 w 362313"/>
                  <a:gd name="connsiteY47" fmla="*/ 77246 h 361971"/>
                  <a:gd name="connsiteX48" fmla="*/ 178279 w 362313"/>
                  <a:gd name="connsiteY48" fmla="*/ 62563 h 361971"/>
                  <a:gd name="connsiteX49" fmla="*/ 189781 w 362313"/>
                  <a:gd name="connsiteY49" fmla="*/ 57456 h 361971"/>
                  <a:gd name="connsiteX50" fmla="*/ 214063 w 362313"/>
                  <a:gd name="connsiteY50" fmla="*/ 61925 h 361971"/>
                  <a:gd name="connsiteX51" fmla="*/ 223009 w 362313"/>
                  <a:gd name="connsiteY51" fmla="*/ 70862 h 361971"/>
                  <a:gd name="connsiteX52" fmla="*/ 225565 w 362313"/>
                  <a:gd name="connsiteY52" fmla="*/ 87461 h 361971"/>
                  <a:gd name="connsiteX53" fmla="*/ 240262 w 362313"/>
                  <a:gd name="connsiteY53" fmla="*/ 95760 h 361971"/>
                  <a:gd name="connsiteX54" fmla="*/ 256237 w 362313"/>
                  <a:gd name="connsiteY54" fmla="*/ 89376 h 361971"/>
                  <a:gd name="connsiteX55" fmla="*/ 268377 w 362313"/>
                  <a:gd name="connsiteY55" fmla="*/ 92568 h 361971"/>
                  <a:gd name="connsiteX56" fmla="*/ 284352 w 362313"/>
                  <a:gd name="connsiteY56" fmla="*/ 111720 h 361971"/>
                  <a:gd name="connsiteX57" fmla="*/ 284991 w 362313"/>
                  <a:gd name="connsiteY57" fmla="*/ 123849 h 361971"/>
                  <a:gd name="connsiteX58" fmla="*/ 276045 w 362313"/>
                  <a:gd name="connsiteY58" fmla="*/ 138533 h 361971"/>
                  <a:gd name="connsiteX59" fmla="*/ 281796 w 362313"/>
                  <a:gd name="connsiteY59" fmla="*/ 154492 h 361971"/>
                  <a:gd name="connsiteX60" fmla="*/ 297771 w 362313"/>
                  <a:gd name="connsiteY60" fmla="*/ 160238 h 361971"/>
                  <a:gd name="connsiteX61" fmla="*/ 304800 w 362313"/>
                  <a:gd name="connsiteY61" fmla="*/ 170452 h 361971"/>
                  <a:gd name="connsiteX62" fmla="*/ 305439 w 362313"/>
                  <a:gd name="connsiteY62" fmla="*/ 19343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lnTo>
                      <a:pt x="181474" y="0"/>
                    </a:lnTo>
                    <a:close/>
                    <a:moveTo>
                      <a:pt x="305439" y="193435"/>
                    </a:moveTo>
                    <a:cubicBezTo>
                      <a:pt x="305439" y="197903"/>
                      <a:pt x="302244" y="202372"/>
                      <a:pt x="298410" y="203649"/>
                    </a:cubicBezTo>
                    <a:lnTo>
                      <a:pt x="282435" y="209395"/>
                    </a:lnTo>
                    <a:lnTo>
                      <a:pt x="276684" y="225355"/>
                    </a:lnTo>
                    <a:lnTo>
                      <a:pt x="285630" y="240038"/>
                    </a:lnTo>
                    <a:cubicBezTo>
                      <a:pt x="288186" y="243868"/>
                      <a:pt x="287547" y="248975"/>
                      <a:pt x="284991" y="252806"/>
                    </a:cubicBezTo>
                    <a:lnTo>
                      <a:pt x="269016" y="271958"/>
                    </a:lnTo>
                    <a:cubicBezTo>
                      <a:pt x="265821" y="275788"/>
                      <a:pt x="261348" y="276426"/>
                      <a:pt x="256876" y="275150"/>
                    </a:cubicBezTo>
                    <a:lnTo>
                      <a:pt x="240901" y="268766"/>
                    </a:lnTo>
                    <a:lnTo>
                      <a:pt x="226204" y="277065"/>
                    </a:lnTo>
                    <a:lnTo>
                      <a:pt x="223648" y="294302"/>
                    </a:lnTo>
                    <a:cubicBezTo>
                      <a:pt x="223009" y="298770"/>
                      <a:pt x="219175" y="301962"/>
                      <a:pt x="214702" y="302601"/>
                    </a:cubicBezTo>
                    <a:lnTo>
                      <a:pt x="190420" y="307070"/>
                    </a:lnTo>
                    <a:lnTo>
                      <a:pt x="188503" y="307070"/>
                    </a:lnTo>
                    <a:cubicBezTo>
                      <a:pt x="184669" y="307070"/>
                      <a:pt x="180835" y="305154"/>
                      <a:pt x="178918" y="301324"/>
                    </a:cubicBezTo>
                    <a:lnTo>
                      <a:pt x="170611" y="286641"/>
                    </a:lnTo>
                    <a:lnTo>
                      <a:pt x="153998" y="283449"/>
                    </a:lnTo>
                    <a:lnTo>
                      <a:pt x="141218" y="294940"/>
                    </a:lnTo>
                    <a:cubicBezTo>
                      <a:pt x="137384" y="298132"/>
                      <a:pt x="132272" y="298770"/>
                      <a:pt x="128438" y="296217"/>
                    </a:cubicBezTo>
                    <a:lnTo>
                      <a:pt x="106712" y="284087"/>
                    </a:lnTo>
                    <a:cubicBezTo>
                      <a:pt x="102878" y="281534"/>
                      <a:pt x="100961" y="277065"/>
                      <a:pt x="101600" y="272596"/>
                    </a:cubicBezTo>
                    <a:lnTo>
                      <a:pt x="104795" y="255998"/>
                    </a:lnTo>
                    <a:lnTo>
                      <a:pt x="93932" y="243230"/>
                    </a:lnTo>
                    <a:lnTo>
                      <a:pt x="76679" y="243230"/>
                    </a:lnTo>
                    <a:cubicBezTo>
                      <a:pt x="72206" y="243230"/>
                      <a:pt x="67733" y="240676"/>
                      <a:pt x="66455" y="236207"/>
                    </a:cubicBezTo>
                    <a:lnTo>
                      <a:pt x="58148" y="213225"/>
                    </a:lnTo>
                    <a:cubicBezTo>
                      <a:pt x="56870" y="208756"/>
                      <a:pt x="58148" y="204287"/>
                      <a:pt x="61343" y="201095"/>
                    </a:cubicBezTo>
                    <a:lnTo>
                      <a:pt x="74762" y="190243"/>
                    </a:lnTo>
                    <a:lnTo>
                      <a:pt x="74762" y="173006"/>
                    </a:lnTo>
                    <a:lnTo>
                      <a:pt x="61343" y="162153"/>
                    </a:lnTo>
                    <a:cubicBezTo>
                      <a:pt x="57509" y="159600"/>
                      <a:pt x="56231" y="154492"/>
                      <a:pt x="58148" y="150024"/>
                    </a:cubicBezTo>
                    <a:lnTo>
                      <a:pt x="66455" y="127041"/>
                    </a:lnTo>
                    <a:cubicBezTo>
                      <a:pt x="68372" y="122573"/>
                      <a:pt x="72206" y="120019"/>
                      <a:pt x="76679" y="120019"/>
                    </a:cubicBezTo>
                    <a:lnTo>
                      <a:pt x="93932" y="120657"/>
                    </a:lnTo>
                    <a:lnTo>
                      <a:pt x="104795" y="107889"/>
                    </a:lnTo>
                    <a:lnTo>
                      <a:pt x="101600" y="91291"/>
                    </a:lnTo>
                    <a:cubicBezTo>
                      <a:pt x="100961" y="86822"/>
                      <a:pt x="102878" y="82354"/>
                      <a:pt x="106712" y="79800"/>
                    </a:cubicBezTo>
                    <a:lnTo>
                      <a:pt x="128438" y="67670"/>
                    </a:lnTo>
                    <a:cubicBezTo>
                      <a:pt x="132272" y="65117"/>
                      <a:pt x="137384" y="65755"/>
                      <a:pt x="140579" y="68947"/>
                    </a:cubicBezTo>
                    <a:lnTo>
                      <a:pt x="153358" y="80438"/>
                    </a:lnTo>
                    <a:lnTo>
                      <a:pt x="169972" y="77246"/>
                    </a:lnTo>
                    <a:lnTo>
                      <a:pt x="178279" y="62563"/>
                    </a:lnTo>
                    <a:cubicBezTo>
                      <a:pt x="180196" y="58733"/>
                      <a:pt x="184669" y="56179"/>
                      <a:pt x="189781" y="57456"/>
                    </a:cubicBezTo>
                    <a:lnTo>
                      <a:pt x="214063" y="61925"/>
                    </a:lnTo>
                    <a:cubicBezTo>
                      <a:pt x="218536" y="62563"/>
                      <a:pt x="222370" y="66394"/>
                      <a:pt x="223009" y="70862"/>
                    </a:cubicBezTo>
                    <a:lnTo>
                      <a:pt x="225565" y="87461"/>
                    </a:lnTo>
                    <a:lnTo>
                      <a:pt x="240262" y="95760"/>
                    </a:lnTo>
                    <a:lnTo>
                      <a:pt x="256237" y="89376"/>
                    </a:lnTo>
                    <a:cubicBezTo>
                      <a:pt x="260709" y="87461"/>
                      <a:pt x="265182" y="88738"/>
                      <a:pt x="268377" y="92568"/>
                    </a:cubicBezTo>
                    <a:lnTo>
                      <a:pt x="284352" y="111720"/>
                    </a:lnTo>
                    <a:cubicBezTo>
                      <a:pt x="287547" y="114912"/>
                      <a:pt x="287547" y="120019"/>
                      <a:pt x="284991" y="123849"/>
                    </a:cubicBezTo>
                    <a:lnTo>
                      <a:pt x="276045" y="138533"/>
                    </a:lnTo>
                    <a:lnTo>
                      <a:pt x="281796" y="154492"/>
                    </a:lnTo>
                    <a:lnTo>
                      <a:pt x="297771" y="160238"/>
                    </a:lnTo>
                    <a:cubicBezTo>
                      <a:pt x="302244" y="161515"/>
                      <a:pt x="304800" y="165984"/>
                      <a:pt x="304800" y="170452"/>
                    </a:cubicBezTo>
                    <a:lnTo>
                      <a:pt x="305439" y="193435"/>
                    </a:lnTo>
                    <a:close/>
                  </a:path>
                </a:pathLst>
              </a:custGeom>
              <a:solidFill>
                <a:schemeClr val="accent6">
                  <a:lumMod val="100000"/>
                </a:schemeClr>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8" name="Graphic 4">
                <a:extLst>
                  <a:ext uri="{FF2B5EF4-FFF2-40B4-BE49-F238E27FC236}">
                    <a16:creationId xmlns:a16="http://schemas.microsoft.com/office/drawing/2014/main" id="{ABDD9904-D095-0570-8CCA-8FC770121CD4}"/>
                  </a:ext>
                </a:extLst>
              </p:cNvPr>
              <p:cNvSpPr/>
              <p:nvPr/>
            </p:nvSpPr>
            <p:spPr>
              <a:xfrm>
                <a:off x="2062032" y="4419154"/>
                <a:ext cx="140796" cy="141303"/>
              </a:xfrm>
              <a:custGeom>
                <a:avLst/>
                <a:gdLst>
                  <a:gd name="connsiteX0" fmla="*/ 70289 w 140796"/>
                  <a:gd name="connsiteY0" fmla="*/ 0 h 141303"/>
                  <a:gd name="connsiteX1" fmla="*/ 0 w 140796"/>
                  <a:gd name="connsiteY1" fmla="*/ 70224 h 141303"/>
                  <a:gd name="connsiteX2" fmla="*/ 7668 w 140796"/>
                  <a:gd name="connsiteY2" fmla="*/ 102144 h 141303"/>
                  <a:gd name="connsiteX3" fmla="*/ 33867 w 140796"/>
                  <a:gd name="connsiteY3" fmla="*/ 75970 h 141303"/>
                  <a:gd name="connsiteX4" fmla="*/ 33867 w 140796"/>
                  <a:gd name="connsiteY4" fmla="*/ 74693 h 141303"/>
                  <a:gd name="connsiteX5" fmla="*/ 33228 w 140796"/>
                  <a:gd name="connsiteY5" fmla="*/ 73416 h 141303"/>
                  <a:gd name="connsiteX6" fmla="*/ 67733 w 140796"/>
                  <a:gd name="connsiteY6" fmla="*/ 15322 h 141303"/>
                  <a:gd name="connsiteX7" fmla="*/ 83069 w 140796"/>
                  <a:gd name="connsiteY7" fmla="*/ 14045 h 141303"/>
                  <a:gd name="connsiteX8" fmla="*/ 90737 w 140796"/>
                  <a:gd name="connsiteY8" fmla="*/ 19791 h 141303"/>
                  <a:gd name="connsiteX9" fmla="*/ 88820 w 140796"/>
                  <a:gd name="connsiteY9" fmla="*/ 29367 h 141303"/>
                  <a:gd name="connsiteX10" fmla="*/ 70289 w 140796"/>
                  <a:gd name="connsiteY10" fmla="*/ 47880 h 141303"/>
                  <a:gd name="connsiteX11" fmla="*/ 74762 w 140796"/>
                  <a:gd name="connsiteY11" fmla="*/ 67032 h 141303"/>
                  <a:gd name="connsiteX12" fmla="*/ 93932 w 140796"/>
                  <a:gd name="connsiteY12" fmla="*/ 71501 h 141303"/>
                  <a:gd name="connsiteX13" fmla="*/ 112463 w 140796"/>
                  <a:gd name="connsiteY13" fmla="*/ 52987 h 141303"/>
                  <a:gd name="connsiteX14" fmla="*/ 122048 w 140796"/>
                  <a:gd name="connsiteY14" fmla="*/ 51072 h 141303"/>
                  <a:gd name="connsiteX15" fmla="*/ 127799 w 140796"/>
                  <a:gd name="connsiteY15" fmla="*/ 58733 h 141303"/>
                  <a:gd name="connsiteX16" fmla="*/ 83708 w 140796"/>
                  <a:gd name="connsiteY16" fmla="*/ 109805 h 141303"/>
                  <a:gd name="connsiteX17" fmla="*/ 68372 w 140796"/>
                  <a:gd name="connsiteY17" fmla="*/ 108528 h 141303"/>
                  <a:gd name="connsiteX18" fmla="*/ 67733 w 140796"/>
                  <a:gd name="connsiteY18" fmla="*/ 108528 h 141303"/>
                  <a:gd name="connsiteX19" fmla="*/ 65816 w 140796"/>
                  <a:gd name="connsiteY19" fmla="*/ 107889 h 141303"/>
                  <a:gd name="connsiteX20" fmla="*/ 39617 w 140796"/>
                  <a:gd name="connsiteY20" fmla="*/ 134064 h 141303"/>
                  <a:gd name="connsiteX21" fmla="*/ 133550 w 140796"/>
                  <a:gd name="connsiteY21" fmla="*/ 102144 h 141303"/>
                  <a:gd name="connsiteX22" fmla="*/ 101600 w 140796"/>
                  <a:gd name="connsiteY22" fmla="*/ 8299 h 141303"/>
                  <a:gd name="connsiteX23" fmla="*/ 70289 w 140796"/>
                  <a:gd name="connsiteY23" fmla="*/ 0 h 141303"/>
                  <a:gd name="connsiteX24" fmla="*/ 70289 w 140796"/>
                  <a:gd name="connsiteY24" fmla="*/ 0 h 14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796" h="141303">
                    <a:moveTo>
                      <a:pt x="70289" y="0"/>
                    </a:moveTo>
                    <a:cubicBezTo>
                      <a:pt x="31311" y="0"/>
                      <a:pt x="0" y="31282"/>
                      <a:pt x="0" y="70224"/>
                    </a:cubicBezTo>
                    <a:cubicBezTo>
                      <a:pt x="0" y="81077"/>
                      <a:pt x="2556" y="92568"/>
                      <a:pt x="7668" y="102144"/>
                    </a:cubicBezTo>
                    <a:lnTo>
                      <a:pt x="33867" y="75970"/>
                    </a:lnTo>
                    <a:cubicBezTo>
                      <a:pt x="33867" y="75331"/>
                      <a:pt x="33867" y="75331"/>
                      <a:pt x="33867" y="74693"/>
                    </a:cubicBezTo>
                    <a:cubicBezTo>
                      <a:pt x="33867" y="74054"/>
                      <a:pt x="33228" y="74054"/>
                      <a:pt x="33228" y="73416"/>
                    </a:cubicBezTo>
                    <a:cubicBezTo>
                      <a:pt x="26838" y="47880"/>
                      <a:pt x="42173" y="21706"/>
                      <a:pt x="67733" y="15322"/>
                    </a:cubicBezTo>
                    <a:cubicBezTo>
                      <a:pt x="72845" y="14045"/>
                      <a:pt x="77957" y="13407"/>
                      <a:pt x="83069" y="14045"/>
                    </a:cubicBezTo>
                    <a:cubicBezTo>
                      <a:pt x="86264" y="14045"/>
                      <a:pt x="89459" y="16599"/>
                      <a:pt x="90737" y="19791"/>
                    </a:cubicBezTo>
                    <a:cubicBezTo>
                      <a:pt x="92015" y="22983"/>
                      <a:pt x="91376" y="26813"/>
                      <a:pt x="88820" y="29367"/>
                    </a:cubicBezTo>
                    <a:lnTo>
                      <a:pt x="70289" y="47880"/>
                    </a:lnTo>
                    <a:lnTo>
                      <a:pt x="74762" y="67032"/>
                    </a:lnTo>
                    <a:lnTo>
                      <a:pt x="93932" y="71501"/>
                    </a:lnTo>
                    <a:lnTo>
                      <a:pt x="112463" y="52987"/>
                    </a:lnTo>
                    <a:cubicBezTo>
                      <a:pt x="115019" y="50434"/>
                      <a:pt x="118214" y="49795"/>
                      <a:pt x="122048" y="51072"/>
                    </a:cubicBezTo>
                    <a:cubicBezTo>
                      <a:pt x="125243" y="52349"/>
                      <a:pt x="127799" y="55541"/>
                      <a:pt x="127799" y="58733"/>
                    </a:cubicBezTo>
                    <a:cubicBezTo>
                      <a:pt x="129716" y="84907"/>
                      <a:pt x="109907" y="107889"/>
                      <a:pt x="83708" y="109805"/>
                    </a:cubicBezTo>
                    <a:cubicBezTo>
                      <a:pt x="78596" y="110443"/>
                      <a:pt x="73484" y="109805"/>
                      <a:pt x="68372" y="108528"/>
                    </a:cubicBezTo>
                    <a:lnTo>
                      <a:pt x="67733" y="108528"/>
                    </a:lnTo>
                    <a:lnTo>
                      <a:pt x="65816" y="107889"/>
                    </a:lnTo>
                    <a:lnTo>
                      <a:pt x="39617" y="134064"/>
                    </a:lnTo>
                    <a:cubicBezTo>
                      <a:pt x="74762" y="151300"/>
                      <a:pt x="116297" y="136617"/>
                      <a:pt x="133550" y="102144"/>
                    </a:cubicBezTo>
                    <a:cubicBezTo>
                      <a:pt x="150802" y="67032"/>
                      <a:pt x="136106" y="25536"/>
                      <a:pt x="101600" y="8299"/>
                    </a:cubicBezTo>
                    <a:cubicBezTo>
                      <a:pt x="91376" y="2554"/>
                      <a:pt x="81152" y="0"/>
                      <a:pt x="70289" y="0"/>
                    </a:cubicBezTo>
                    <a:lnTo>
                      <a:pt x="70289" y="0"/>
                    </a:lnTo>
                    <a:close/>
                  </a:path>
                </a:pathLst>
              </a:custGeom>
              <a:grpFill/>
              <a:ln w="6390"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Graphic 4">
                <a:extLst>
                  <a:ext uri="{FF2B5EF4-FFF2-40B4-BE49-F238E27FC236}">
                    <a16:creationId xmlns:a16="http://schemas.microsoft.com/office/drawing/2014/main" id="{03D74A8D-79FF-4090-0526-DD2F05388253}"/>
                  </a:ext>
                </a:extLst>
              </p:cNvPr>
              <p:cNvSpPr/>
              <p:nvPr/>
            </p:nvSpPr>
            <p:spPr>
              <a:xfrm>
                <a:off x="2076090" y="4445967"/>
                <a:ext cx="99683" cy="99590"/>
              </a:xfrm>
              <a:custGeom>
                <a:avLst/>
                <a:gdLst>
                  <a:gd name="connsiteX0" fmla="*/ 45369 w 99683"/>
                  <a:gd name="connsiteY0" fmla="*/ 68309 h 99590"/>
                  <a:gd name="connsiteX1" fmla="*/ 52398 w 99683"/>
                  <a:gd name="connsiteY1" fmla="*/ 67032 h 99590"/>
                  <a:gd name="connsiteX2" fmla="*/ 56870 w 99683"/>
                  <a:gd name="connsiteY2" fmla="*/ 68309 h 99590"/>
                  <a:gd name="connsiteX3" fmla="*/ 57509 w 99683"/>
                  <a:gd name="connsiteY3" fmla="*/ 68309 h 99590"/>
                  <a:gd name="connsiteX4" fmla="*/ 90098 w 99683"/>
                  <a:gd name="connsiteY4" fmla="*/ 58733 h 99590"/>
                  <a:gd name="connsiteX5" fmla="*/ 99683 w 99683"/>
                  <a:gd name="connsiteY5" fmla="*/ 41496 h 99590"/>
                  <a:gd name="connsiteX6" fmla="*/ 86264 w 99683"/>
                  <a:gd name="connsiteY6" fmla="*/ 54902 h 99590"/>
                  <a:gd name="connsiteX7" fmla="*/ 80513 w 99683"/>
                  <a:gd name="connsiteY7" fmla="*/ 56818 h 99590"/>
                  <a:gd name="connsiteX8" fmla="*/ 53675 w 99683"/>
                  <a:gd name="connsiteY8" fmla="*/ 50434 h 99590"/>
                  <a:gd name="connsiteX9" fmla="*/ 48564 w 99683"/>
                  <a:gd name="connsiteY9" fmla="*/ 45327 h 99590"/>
                  <a:gd name="connsiteX10" fmla="*/ 42174 w 99683"/>
                  <a:gd name="connsiteY10" fmla="*/ 18514 h 99590"/>
                  <a:gd name="connsiteX11" fmla="*/ 44091 w 99683"/>
                  <a:gd name="connsiteY11" fmla="*/ 12768 h 99590"/>
                  <a:gd name="connsiteX12" fmla="*/ 57509 w 99683"/>
                  <a:gd name="connsiteY12" fmla="*/ 0 h 99590"/>
                  <a:gd name="connsiteX13" fmla="*/ 30672 w 99683"/>
                  <a:gd name="connsiteY13" fmla="*/ 42135 h 99590"/>
                  <a:gd name="connsiteX14" fmla="*/ 31311 w 99683"/>
                  <a:gd name="connsiteY14" fmla="*/ 43411 h 99590"/>
                  <a:gd name="connsiteX15" fmla="*/ 32589 w 99683"/>
                  <a:gd name="connsiteY15" fmla="*/ 47880 h 99590"/>
                  <a:gd name="connsiteX16" fmla="*/ 31311 w 99683"/>
                  <a:gd name="connsiteY16" fmla="*/ 54902 h 99590"/>
                  <a:gd name="connsiteX17" fmla="*/ 0 w 99683"/>
                  <a:gd name="connsiteY17" fmla="*/ 86184 h 99590"/>
                  <a:gd name="connsiteX18" fmla="*/ 13419 w 99683"/>
                  <a:gd name="connsiteY18" fmla="*/ 99590 h 99590"/>
                  <a:gd name="connsiteX19" fmla="*/ 45369 w 99683"/>
                  <a:gd name="connsiteY19" fmla="*/ 68309 h 9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683" h="99590">
                    <a:moveTo>
                      <a:pt x="45369" y="68309"/>
                    </a:moveTo>
                    <a:cubicBezTo>
                      <a:pt x="47285" y="66394"/>
                      <a:pt x="49842" y="65755"/>
                      <a:pt x="52398" y="67032"/>
                    </a:cubicBezTo>
                    <a:cubicBezTo>
                      <a:pt x="53675" y="67670"/>
                      <a:pt x="55593" y="68309"/>
                      <a:pt x="56870" y="68309"/>
                    </a:cubicBezTo>
                    <a:lnTo>
                      <a:pt x="57509" y="68309"/>
                    </a:lnTo>
                    <a:cubicBezTo>
                      <a:pt x="69650" y="71501"/>
                      <a:pt x="81791" y="67670"/>
                      <a:pt x="90098" y="58733"/>
                    </a:cubicBezTo>
                    <a:cubicBezTo>
                      <a:pt x="94571" y="54264"/>
                      <a:pt x="98405" y="47880"/>
                      <a:pt x="99683" y="41496"/>
                    </a:cubicBezTo>
                    <a:lnTo>
                      <a:pt x="86264" y="54902"/>
                    </a:lnTo>
                    <a:cubicBezTo>
                      <a:pt x="84986" y="56179"/>
                      <a:pt x="82430" y="56818"/>
                      <a:pt x="80513" y="56818"/>
                    </a:cubicBezTo>
                    <a:lnTo>
                      <a:pt x="53675" y="50434"/>
                    </a:lnTo>
                    <a:cubicBezTo>
                      <a:pt x="51119" y="49795"/>
                      <a:pt x="49203" y="47880"/>
                      <a:pt x="48564" y="45327"/>
                    </a:cubicBezTo>
                    <a:lnTo>
                      <a:pt x="42174" y="18514"/>
                    </a:lnTo>
                    <a:cubicBezTo>
                      <a:pt x="41535" y="16599"/>
                      <a:pt x="42174" y="14045"/>
                      <a:pt x="44091" y="12768"/>
                    </a:cubicBezTo>
                    <a:lnTo>
                      <a:pt x="57509" y="0"/>
                    </a:lnTo>
                    <a:cubicBezTo>
                      <a:pt x="38340" y="4469"/>
                      <a:pt x="26838" y="22983"/>
                      <a:pt x="30672" y="42135"/>
                    </a:cubicBezTo>
                    <a:cubicBezTo>
                      <a:pt x="30672" y="42135"/>
                      <a:pt x="30672" y="42773"/>
                      <a:pt x="31311" y="43411"/>
                    </a:cubicBezTo>
                    <a:cubicBezTo>
                      <a:pt x="31950" y="44688"/>
                      <a:pt x="31950" y="46603"/>
                      <a:pt x="32589" y="47880"/>
                    </a:cubicBezTo>
                    <a:cubicBezTo>
                      <a:pt x="33867" y="50434"/>
                      <a:pt x="33228" y="52987"/>
                      <a:pt x="31311" y="54902"/>
                    </a:cubicBezTo>
                    <a:lnTo>
                      <a:pt x="0" y="86184"/>
                    </a:lnTo>
                    <a:cubicBezTo>
                      <a:pt x="3834" y="91291"/>
                      <a:pt x="8307" y="95760"/>
                      <a:pt x="13419" y="99590"/>
                    </a:cubicBezTo>
                    <a:lnTo>
                      <a:pt x="45369" y="68309"/>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0" name="Graphic 4">
                <a:extLst>
                  <a:ext uri="{FF2B5EF4-FFF2-40B4-BE49-F238E27FC236}">
                    <a16:creationId xmlns:a16="http://schemas.microsoft.com/office/drawing/2014/main" id="{397A8306-A23B-B11A-6354-1C4EA54F277D}"/>
                  </a:ext>
                </a:extLst>
              </p:cNvPr>
              <p:cNvSpPr/>
              <p:nvPr/>
            </p:nvSpPr>
            <p:spPr>
              <a:xfrm>
                <a:off x="2023054" y="4377020"/>
                <a:ext cx="223008" cy="225993"/>
              </a:xfrm>
              <a:custGeom>
                <a:avLst/>
                <a:gdLst>
                  <a:gd name="connsiteX0" fmla="*/ 200644 w 223008"/>
                  <a:gd name="connsiteY0" fmla="*/ 91930 h 225993"/>
                  <a:gd name="connsiteX1" fmla="*/ 192976 w 223008"/>
                  <a:gd name="connsiteY1" fmla="*/ 70224 h 225993"/>
                  <a:gd name="connsiteX2" fmla="*/ 193615 w 223008"/>
                  <a:gd name="connsiteY2" fmla="*/ 64478 h 225993"/>
                  <a:gd name="connsiteX3" fmla="*/ 203200 w 223008"/>
                  <a:gd name="connsiteY3" fmla="*/ 48518 h 225993"/>
                  <a:gd name="connsiteX4" fmla="*/ 189142 w 223008"/>
                  <a:gd name="connsiteY4" fmla="*/ 31920 h 225993"/>
                  <a:gd name="connsiteX5" fmla="*/ 171889 w 223008"/>
                  <a:gd name="connsiteY5" fmla="*/ 38942 h 225993"/>
                  <a:gd name="connsiteX6" fmla="*/ 166138 w 223008"/>
                  <a:gd name="connsiteY6" fmla="*/ 38304 h 225993"/>
                  <a:gd name="connsiteX7" fmla="*/ 146330 w 223008"/>
                  <a:gd name="connsiteY7" fmla="*/ 26813 h 225993"/>
                  <a:gd name="connsiteX8" fmla="*/ 143135 w 223008"/>
                  <a:gd name="connsiteY8" fmla="*/ 22344 h 225993"/>
                  <a:gd name="connsiteX9" fmla="*/ 139940 w 223008"/>
                  <a:gd name="connsiteY9" fmla="*/ 3830 h 225993"/>
                  <a:gd name="connsiteX10" fmla="*/ 118214 w 223008"/>
                  <a:gd name="connsiteY10" fmla="*/ 0 h 225993"/>
                  <a:gd name="connsiteX11" fmla="*/ 109268 w 223008"/>
                  <a:gd name="connsiteY11" fmla="*/ 16598 h 225993"/>
                  <a:gd name="connsiteX12" fmla="*/ 104795 w 223008"/>
                  <a:gd name="connsiteY12" fmla="*/ 19790 h 225993"/>
                  <a:gd name="connsiteX13" fmla="*/ 81791 w 223008"/>
                  <a:gd name="connsiteY13" fmla="*/ 23621 h 225993"/>
                  <a:gd name="connsiteX14" fmla="*/ 76679 w 223008"/>
                  <a:gd name="connsiteY14" fmla="*/ 22344 h 225993"/>
                  <a:gd name="connsiteX15" fmla="*/ 62621 w 223008"/>
                  <a:gd name="connsiteY15" fmla="*/ 10214 h 225993"/>
                  <a:gd name="connsiteX16" fmla="*/ 43451 w 223008"/>
                  <a:gd name="connsiteY16" fmla="*/ 21067 h 225993"/>
                  <a:gd name="connsiteX17" fmla="*/ 47285 w 223008"/>
                  <a:gd name="connsiteY17" fmla="*/ 39581 h 225993"/>
                  <a:gd name="connsiteX18" fmla="*/ 46007 w 223008"/>
                  <a:gd name="connsiteY18" fmla="*/ 44688 h 225993"/>
                  <a:gd name="connsiteX19" fmla="*/ 31311 w 223008"/>
                  <a:gd name="connsiteY19" fmla="*/ 62563 h 225993"/>
                  <a:gd name="connsiteX20" fmla="*/ 26199 w 223008"/>
                  <a:gd name="connsiteY20" fmla="*/ 65117 h 225993"/>
                  <a:gd name="connsiteX21" fmla="*/ 7668 w 223008"/>
                  <a:gd name="connsiteY21" fmla="*/ 64478 h 225993"/>
                  <a:gd name="connsiteX22" fmla="*/ 0 w 223008"/>
                  <a:gd name="connsiteY22" fmla="*/ 84907 h 225993"/>
                  <a:gd name="connsiteX23" fmla="*/ 14697 w 223008"/>
                  <a:gd name="connsiteY23" fmla="*/ 96398 h 225993"/>
                  <a:gd name="connsiteX24" fmla="*/ 17253 w 223008"/>
                  <a:gd name="connsiteY24" fmla="*/ 101505 h 225993"/>
                  <a:gd name="connsiteX25" fmla="*/ 17253 w 223008"/>
                  <a:gd name="connsiteY25" fmla="*/ 124488 h 225993"/>
                  <a:gd name="connsiteX26" fmla="*/ 14697 w 223008"/>
                  <a:gd name="connsiteY26" fmla="*/ 129595 h 225993"/>
                  <a:gd name="connsiteX27" fmla="*/ 0 w 223008"/>
                  <a:gd name="connsiteY27" fmla="*/ 141086 h 225993"/>
                  <a:gd name="connsiteX28" fmla="*/ 7668 w 223008"/>
                  <a:gd name="connsiteY28" fmla="*/ 161515 h 225993"/>
                  <a:gd name="connsiteX29" fmla="*/ 26199 w 223008"/>
                  <a:gd name="connsiteY29" fmla="*/ 160876 h 225993"/>
                  <a:gd name="connsiteX30" fmla="*/ 31311 w 223008"/>
                  <a:gd name="connsiteY30" fmla="*/ 163430 h 225993"/>
                  <a:gd name="connsiteX31" fmla="*/ 46007 w 223008"/>
                  <a:gd name="connsiteY31" fmla="*/ 181305 h 225993"/>
                  <a:gd name="connsiteX32" fmla="*/ 47285 w 223008"/>
                  <a:gd name="connsiteY32" fmla="*/ 186412 h 225993"/>
                  <a:gd name="connsiteX33" fmla="*/ 43451 w 223008"/>
                  <a:gd name="connsiteY33" fmla="*/ 204926 h 225993"/>
                  <a:gd name="connsiteX34" fmla="*/ 62621 w 223008"/>
                  <a:gd name="connsiteY34" fmla="*/ 215779 h 225993"/>
                  <a:gd name="connsiteX35" fmla="*/ 76679 w 223008"/>
                  <a:gd name="connsiteY35" fmla="*/ 203649 h 225993"/>
                  <a:gd name="connsiteX36" fmla="*/ 81152 w 223008"/>
                  <a:gd name="connsiteY36" fmla="*/ 202372 h 225993"/>
                  <a:gd name="connsiteX37" fmla="*/ 82430 w 223008"/>
                  <a:gd name="connsiteY37" fmla="*/ 202372 h 225993"/>
                  <a:gd name="connsiteX38" fmla="*/ 105434 w 223008"/>
                  <a:gd name="connsiteY38" fmla="*/ 206203 h 225993"/>
                  <a:gd name="connsiteX39" fmla="*/ 109907 w 223008"/>
                  <a:gd name="connsiteY39" fmla="*/ 209395 h 225993"/>
                  <a:gd name="connsiteX40" fmla="*/ 118853 w 223008"/>
                  <a:gd name="connsiteY40" fmla="*/ 225993 h 225993"/>
                  <a:gd name="connsiteX41" fmla="*/ 140579 w 223008"/>
                  <a:gd name="connsiteY41" fmla="*/ 222163 h 225993"/>
                  <a:gd name="connsiteX42" fmla="*/ 143774 w 223008"/>
                  <a:gd name="connsiteY42" fmla="*/ 203649 h 225993"/>
                  <a:gd name="connsiteX43" fmla="*/ 146969 w 223008"/>
                  <a:gd name="connsiteY43" fmla="*/ 199180 h 225993"/>
                  <a:gd name="connsiteX44" fmla="*/ 166777 w 223008"/>
                  <a:gd name="connsiteY44" fmla="*/ 187689 h 225993"/>
                  <a:gd name="connsiteX45" fmla="*/ 172528 w 223008"/>
                  <a:gd name="connsiteY45" fmla="*/ 187051 h 225993"/>
                  <a:gd name="connsiteX46" fmla="*/ 189781 w 223008"/>
                  <a:gd name="connsiteY46" fmla="*/ 194073 h 225993"/>
                  <a:gd name="connsiteX47" fmla="*/ 203839 w 223008"/>
                  <a:gd name="connsiteY47" fmla="*/ 177475 h 225993"/>
                  <a:gd name="connsiteX48" fmla="*/ 194254 w 223008"/>
                  <a:gd name="connsiteY48" fmla="*/ 161515 h 225993"/>
                  <a:gd name="connsiteX49" fmla="*/ 193615 w 223008"/>
                  <a:gd name="connsiteY49" fmla="*/ 155769 h 225993"/>
                  <a:gd name="connsiteX50" fmla="*/ 201283 w 223008"/>
                  <a:gd name="connsiteY50" fmla="*/ 134064 h 225993"/>
                  <a:gd name="connsiteX51" fmla="*/ 205117 w 223008"/>
                  <a:gd name="connsiteY51" fmla="*/ 130233 h 225993"/>
                  <a:gd name="connsiteX52" fmla="*/ 223009 w 223008"/>
                  <a:gd name="connsiteY52" fmla="*/ 124488 h 225993"/>
                  <a:gd name="connsiteX53" fmla="*/ 223009 w 223008"/>
                  <a:gd name="connsiteY53" fmla="*/ 102782 h 225993"/>
                  <a:gd name="connsiteX54" fmla="*/ 205117 w 223008"/>
                  <a:gd name="connsiteY54" fmla="*/ 96398 h 225993"/>
                  <a:gd name="connsiteX55" fmla="*/ 200644 w 223008"/>
                  <a:gd name="connsiteY55" fmla="*/ 91930 h 225993"/>
                  <a:gd name="connsiteX56" fmla="*/ 109907 w 223008"/>
                  <a:gd name="connsiteY56" fmla="*/ 195350 h 225993"/>
                  <a:gd name="connsiteX57" fmla="*/ 26838 w 223008"/>
                  <a:gd name="connsiteY57" fmla="*/ 112358 h 225993"/>
                  <a:gd name="connsiteX58" fmla="*/ 109907 w 223008"/>
                  <a:gd name="connsiteY58" fmla="*/ 29366 h 225993"/>
                  <a:gd name="connsiteX59" fmla="*/ 192976 w 223008"/>
                  <a:gd name="connsiteY59" fmla="*/ 112358 h 225993"/>
                  <a:gd name="connsiteX60" fmla="*/ 192976 w 223008"/>
                  <a:gd name="connsiteY60" fmla="*/ 112358 h 225993"/>
                  <a:gd name="connsiteX61" fmla="*/ 109907 w 223008"/>
                  <a:gd name="connsiteY61" fmla="*/ 195350 h 225993"/>
                  <a:gd name="connsiteX62" fmla="*/ 109907 w 223008"/>
                  <a:gd name="connsiteY62" fmla="*/ 195350 h 225993"/>
                  <a:gd name="connsiteX63" fmla="*/ 109907 w 223008"/>
                  <a:gd name="connsiteY63" fmla="*/ 195350 h 22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23008" h="225993">
                    <a:moveTo>
                      <a:pt x="200644" y="91930"/>
                    </a:moveTo>
                    <a:lnTo>
                      <a:pt x="192976" y="70224"/>
                    </a:lnTo>
                    <a:cubicBezTo>
                      <a:pt x="192337" y="68309"/>
                      <a:pt x="192337" y="66394"/>
                      <a:pt x="193615" y="64478"/>
                    </a:cubicBezTo>
                    <a:lnTo>
                      <a:pt x="203200" y="48518"/>
                    </a:lnTo>
                    <a:lnTo>
                      <a:pt x="189142" y="31920"/>
                    </a:lnTo>
                    <a:lnTo>
                      <a:pt x="171889" y="38942"/>
                    </a:lnTo>
                    <a:cubicBezTo>
                      <a:pt x="169972" y="39581"/>
                      <a:pt x="168055" y="39581"/>
                      <a:pt x="166138" y="38304"/>
                    </a:cubicBezTo>
                    <a:lnTo>
                      <a:pt x="146330" y="26813"/>
                    </a:lnTo>
                    <a:cubicBezTo>
                      <a:pt x="144413" y="25536"/>
                      <a:pt x="143774" y="24259"/>
                      <a:pt x="143135" y="22344"/>
                    </a:cubicBezTo>
                    <a:lnTo>
                      <a:pt x="139940" y="3830"/>
                    </a:lnTo>
                    <a:lnTo>
                      <a:pt x="118214" y="0"/>
                    </a:lnTo>
                    <a:lnTo>
                      <a:pt x="109268" y="16598"/>
                    </a:lnTo>
                    <a:cubicBezTo>
                      <a:pt x="108629" y="18514"/>
                      <a:pt x="106712" y="19790"/>
                      <a:pt x="104795" y="19790"/>
                    </a:cubicBezTo>
                    <a:lnTo>
                      <a:pt x="81791" y="23621"/>
                    </a:lnTo>
                    <a:cubicBezTo>
                      <a:pt x="79874" y="24259"/>
                      <a:pt x="77957" y="23621"/>
                      <a:pt x="76679" y="22344"/>
                    </a:cubicBezTo>
                    <a:lnTo>
                      <a:pt x="62621" y="10214"/>
                    </a:lnTo>
                    <a:lnTo>
                      <a:pt x="43451" y="21067"/>
                    </a:lnTo>
                    <a:lnTo>
                      <a:pt x="47285" y="39581"/>
                    </a:lnTo>
                    <a:cubicBezTo>
                      <a:pt x="47925" y="41496"/>
                      <a:pt x="47285" y="43411"/>
                      <a:pt x="46007" y="44688"/>
                    </a:cubicBezTo>
                    <a:lnTo>
                      <a:pt x="31311" y="62563"/>
                    </a:lnTo>
                    <a:cubicBezTo>
                      <a:pt x="30033" y="63840"/>
                      <a:pt x="28116" y="65117"/>
                      <a:pt x="26199" y="65117"/>
                    </a:cubicBezTo>
                    <a:lnTo>
                      <a:pt x="7668" y="64478"/>
                    </a:lnTo>
                    <a:lnTo>
                      <a:pt x="0" y="84907"/>
                    </a:lnTo>
                    <a:lnTo>
                      <a:pt x="14697" y="96398"/>
                    </a:lnTo>
                    <a:cubicBezTo>
                      <a:pt x="15975" y="97675"/>
                      <a:pt x="17253" y="99590"/>
                      <a:pt x="17253" y="101505"/>
                    </a:cubicBezTo>
                    <a:lnTo>
                      <a:pt x="17253" y="124488"/>
                    </a:lnTo>
                    <a:cubicBezTo>
                      <a:pt x="17253" y="126403"/>
                      <a:pt x="16614" y="128318"/>
                      <a:pt x="14697" y="129595"/>
                    </a:cubicBezTo>
                    <a:lnTo>
                      <a:pt x="0" y="141086"/>
                    </a:lnTo>
                    <a:lnTo>
                      <a:pt x="7668" y="161515"/>
                    </a:lnTo>
                    <a:lnTo>
                      <a:pt x="26199" y="160876"/>
                    </a:lnTo>
                    <a:cubicBezTo>
                      <a:pt x="28116" y="160876"/>
                      <a:pt x="30033" y="161515"/>
                      <a:pt x="31311" y="163430"/>
                    </a:cubicBezTo>
                    <a:lnTo>
                      <a:pt x="46007" y="181305"/>
                    </a:lnTo>
                    <a:cubicBezTo>
                      <a:pt x="47285" y="182582"/>
                      <a:pt x="47925" y="184497"/>
                      <a:pt x="47285" y="186412"/>
                    </a:cubicBezTo>
                    <a:lnTo>
                      <a:pt x="43451" y="204926"/>
                    </a:lnTo>
                    <a:lnTo>
                      <a:pt x="62621" y="215779"/>
                    </a:lnTo>
                    <a:lnTo>
                      <a:pt x="76679" y="203649"/>
                    </a:lnTo>
                    <a:cubicBezTo>
                      <a:pt x="77957" y="202372"/>
                      <a:pt x="79235" y="202372"/>
                      <a:pt x="81152" y="202372"/>
                    </a:cubicBezTo>
                    <a:lnTo>
                      <a:pt x="82430" y="202372"/>
                    </a:lnTo>
                    <a:lnTo>
                      <a:pt x="105434" y="206203"/>
                    </a:lnTo>
                    <a:cubicBezTo>
                      <a:pt x="107351" y="206203"/>
                      <a:pt x="109268" y="207479"/>
                      <a:pt x="109907" y="209395"/>
                    </a:cubicBezTo>
                    <a:lnTo>
                      <a:pt x="118853" y="225993"/>
                    </a:lnTo>
                    <a:lnTo>
                      <a:pt x="140579" y="222163"/>
                    </a:lnTo>
                    <a:lnTo>
                      <a:pt x="143774" y="203649"/>
                    </a:lnTo>
                    <a:cubicBezTo>
                      <a:pt x="143774" y="201734"/>
                      <a:pt x="145051" y="199819"/>
                      <a:pt x="146969" y="199180"/>
                    </a:cubicBezTo>
                    <a:lnTo>
                      <a:pt x="166777" y="187689"/>
                    </a:lnTo>
                    <a:cubicBezTo>
                      <a:pt x="168694" y="187051"/>
                      <a:pt x="170611" y="186412"/>
                      <a:pt x="172528" y="187051"/>
                    </a:cubicBezTo>
                    <a:lnTo>
                      <a:pt x="189781" y="194073"/>
                    </a:lnTo>
                    <a:lnTo>
                      <a:pt x="203839" y="177475"/>
                    </a:lnTo>
                    <a:lnTo>
                      <a:pt x="194254" y="161515"/>
                    </a:lnTo>
                    <a:cubicBezTo>
                      <a:pt x="192976" y="159600"/>
                      <a:pt x="192976" y="157684"/>
                      <a:pt x="193615" y="155769"/>
                    </a:cubicBezTo>
                    <a:lnTo>
                      <a:pt x="201283" y="134064"/>
                    </a:lnTo>
                    <a:cubicBezTo>
                      <a:pt x="201922" y="132149"/>
                      <a:pt x="203200" y="130872"/>
                      <a:pt x="205117" y="130233"/>
                    </a:cubicBezTo>
                    <a:lnTo>
                      <a:pt x="223009" y="124488"/>
                    </a:lnTo>
                    <a:lnTo>
                      <a:pt x="223009" y="102782"/>
                    </a:lnTo>
                    <a:lnTo>
                      <a:pt x="205117" y="96398"/>
                    </a:lnTo>
                    <a:cubicBezTo>
                      <a:pt x="202561" y="94483"/>
                      <a:pt x="201283" y="93206"/>
                      <a:pt x="200644" y="91930"/>
                    </a:cubicBezTo>
                    <a:close/>
                    <a:moveTo>
                      <a:pt x="109907" y="195350"/>
                    </a:moveTo>
                    <a:cubicBezTo>
                      <a:pt x="63899" y="195350"/>
                      <a:pt x="26838" y="158323"/>
                      <a:pt x="26838" y="112358"/>
                    </a:cubicBezTo>
                    <a:cubicBezTo>
                      <a:pt x="26838" y="66394"/>
                      <a:pt x="63899" y="29366"/>
                      <a:pt x="109907" y="29366"/>
                    </a:cubicBezTo>
                    <a:cubicBezTo>
                      <a:pt x="155914" y="29366"/>
                      <a:pt x="192976" y="66394"/>
                      <a:pt x="192976" y="112358"/>
                    </a:cubicBezTo>
                    <a:lnTo>
                      <a:pt x="192976" y="112358"/>
                    </a:lnTo>
                    <a:cubicBezTo>
                      <a:pt x="192976" y="158323"/>
                      <a:pt x="155914" y="195350"/>
                      <a:pt x="109907" y="195350"/>
                    </a:cubicBezTo>
                    <a:cubicBezTo>
                      <a:pt x="109907" y="195350"/>
                      <a:pt x="109268" y="195350"/>
                      <a:pt x="109907" y="195350"/>
                    </a:cubicBezTo>
                    <a:lnTo>
                      <a:pt x="109907" y="195350"/>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pic>
        <p:nvPicPr>
          <p:cNvPr id="41" name="Picture 40" descr="image.png">
            <a:extLst>
              <a:ext uri="{FF2B5EF4-FFF2-40B4-BE49-F238E27FC236}">
                <a16:creationId xmlns:a16="http://schemas.microsoft.com/office/drawing/2014/main" id="{D68B868D-0AA7-4398-9BCD-A6B76309E6E5}"/>
              </a:ext>
            </a:extLst>
          </p:cNvPr>
          <p:cNvPicPr>
            <a:picLocks noChangeAspect="1"/>
          </p:cNvPicPr>
          <p:nvPr/>
        </p:nvPicPr>
        <p:blipFill>
          <a:blip r:embed="rId10"/>
          <a:stretch>
            <a:fillRect/>
          </a:stretch>
        </p:blipFill>
        <p:spPr>
          <a:xfrm flipH="1">
            <a:off x="7072390" y="2906666"/>
            <a:ext cx="5119610" cy="3981559"/>
          </a:xfrm>
          <a:prstGeom prst="rect">
            <a:avLst/>
          </a:prstGeom>
        </p:spPr>
      </p:pic>
      <p:sp>
        <p:nvSpPr>
          <p:cNvPr id="42" name="Rectangle 41">
            <a:extLst>
              <a:ext uri="{FF2B5EF4-FFF2-40B4-BE49-F238E27FC236}">
                <a16:creationId xmlns:a16="http://schemas.microsoft.com/office/drawing/2014/main" id="{40189E39-36E2-F7B2-7312-8754D324FE98}"/>
              </a:ext>
            </a:extLst>
          </p:cNvPr>
          <p:cNvSpPr/>
          <p:nvPr/>
        </p:nvSpPr>
        <p:spPr bwMode="gray">
          <a:xfrm>
            <a:off x="166977" y="6249725"/>
            <a:ext cx="1447138" cy="6082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Tree>
    <p:extLst>
      <p:ext uri="{BB962C8B-B14F-4D97-AF65-F5344CB8AC3E}">
        <p14:creationId xmlns:p14="http://schemas.microsoft.com/office/powerpoint/2010/main" val="1840870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58AF47E-3EE9-41A7-B395-8DC706038B48}"/>
              </a:ext>
            </a:extLst>
          </p:cNvPr>
          <p:cNvSpPr txBox="1"/>
          <p:nvPr/>
        </p:nvSpPr>
        <p:spPr>
          <a:xfrm>
            <a:off x="2461150" y="298123"/>
            <a:ext cx="7279198" cy="923330"/>
          </a:xfrm>
          <a:prstGeom prst="rect">
            <a:avLst/>
          </a:prstGeom>
          <a:noFill/>
        </p:spPr>
        <p:txBody>
          <a:bodyPr wrap="square">
            <a:spAutoFit/>
          </a:bodyPr>
          <a:lstStyle/>
          <a:p>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The capability to proactively manage the diverse data standards of the enterprise. It involves creating, controlling, enhancing, and maintaining consistency, quality, and usability of metadata</a:t>
            </a:r>
          </a:p>
        </p:txBody>
      </p:sp>
      <p:sp>
        <p:nvSpPr>
          <p:cNvPr id="4" name="object 22">
            <a:extLst>
              <a:ext uri="{FF2B5EF4-FFF2-40B4-BE49-F238E27FC236}">
                <a16:creationId xmlns:a16="http://schemas.microsoft.com/office/drawing/2014/main" id="{5007681E-0108-6380-9C6B-173FA59A7138}"/>
              </a:ext>
            </a:extLst>
          </p:cNvPr>
          <p:cNvSpPr txBox="1"/>
          <p:nvPr/>
        </p:nvSpPr>
        <p:spPr>
          <a:xfrm>
            <a:off x="375831" y="2752514"/>
            <a:ext cx="6460393" cy="1567737"/>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400" b="1" i="1"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Key Metadata Management Capabilities:</a:t>
            </a:r>
            <a:endParaRPr kumimoji="0" sz="14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55880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Discovery</a:t>
            </a:r>
            <a:r>
              <a:rPr lang="en-US" sz="1200"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Facilitates the business’ ability to quickly find data assets based on metadata attributes</a:t>
            </a:r>
            <a:endParaRPr kumimoji="0" lang="en-US" sz="12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55880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Collaboration</a:t>
            </a:r>
            <a:r>
              <a:rPr lang="en-US" sz="1200"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a:t>
            </a:r>
            <a:r>
              <a:rPr lang="en-US" sz="1200" kern="0">
                <a:solidFill>
                  <a:srgbClr val="3E3E3E"/>
                </a:solidFill>
                <a:latin typeface="Open Sans" panose="020B0606030504020204" pitchFamily="34" charset="0"/>
                <a:ea typeface="Open Sans" panose="020B0606030504020204" pitchFamily="34" charset="0"/>
                <a:cs typeface="Open Sans" panose="020B0606030504020204" pitchFamily="34" charset="0"/>
              </a:rPr>
              <a:t>Improves communication and understanding by providing context about data and establishing standards across data areas</a:t>
            </a:r>
            <a:endParaRPr kumimoji="0" lang="en-US" sz="1200" b="0"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55880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Impact Analysis: </a:t>
            </a:r>
            <a:r>
              <a:rPr lang="en-US" sz="1200" kern="0">
                <a:solidFill>
                  <a:srgbClr val="3E3E3E"/>
                </a:solidFill>
                <a:latin typeface="Open Sans" panose="020B0606030504020204" pitchFamily="34" charset="0"/>
                <a:ea typeface="Open Sans" panose="020B0606030504020204" pitchFamily="34" charset="0"/>
                <a:cs typeface="Open Sans" panose="020B0606030504020204" pitchFamily="34" charset="0"/>
              </a:rPr>
              <a:t>Asses the potential effects of changes in data definitions or structures on downstream processes and systems</a:t>
            </a:r>
            <a:endParaRPr kumimoji="0" lang="en-US" sz="12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B7984CAD-E0A0-B9E9-9AA7-E77DE3245DBB}"/>
              </a:ext>
            </a:extLst>
          </p:cNvPr>
          <p:cNvGrpSpPr/>
          <p:nvPr/>
        </p:nvGrpSpPr>
        <p:grpSpPr>
          <a:xfrm>
            <a:off x="420626" y="3073318"/>
            <a:ext cx="320040" cy="320040"/>
            <a:chOff x="4871690" y="801944"/>
            <a:chExt cx="365760" cy="365760"/>
          </a:xfrm>
          <a:solidFill>
            <a:schemeClr val="accent1"/>
          </a:solidFill>
        </p:grpSpPr>
        <p:sp>
          <p:nvSpPr>
            <p:cNvPr id="6" name="Oval 5">
              <a:extLst>
                <a:ext uri="{FF2B5EF4-FFF2-40B4-BE49-F238E27FC236}">
                  <a16:creationId xmlns:a16="http://schemas.microsoft.com/office/drawing/2014/main" id="{59E684E5-FC3F-9047-C37A-42CF71D842A4}"/>
                </a:ext>
              </a:extLst>
            </p:cNvPr>
            <p:cNvSpPr/>
            <p:nvPr/>
          </p:nvSpPr>
          <p:spPr>
            <a:xfrm>
              <a:off x="4871690" y="801944"/>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7" name="Graphic 6" descr="Folder Search outline">
              <a:extLst>
                <a:ext uri="{FF2B5EF4-FFF2-40B4-BE49-F238E27FC236}">
                  <a16:creationId xmlns:a16="http://schemas.microsoft.com/office/drawing/2014/main" id="{873B731E-49C1-3212-F8C2-B130E07925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90058" y="820312"/>
              <a:ext cx="329024" cy="329024"/>
            </a:xfrm>
            <a:prstGeom prst="rect">
              <a:avLst/>
            </a:prstGeom>
          </p:spPr>
        </p:pic>
      </p:grpSp>
      <p:sp>
        <p:nvSpPr>
          <p:cNvPr id="8" name="object 28">
            <a:extLst>
              <a:ext uri="{FF2B5EF4-FFF2-40B4-BE49-F238E27FC236}">
                <a16:creationId xmlns:a16="http://schemas.microsoft.com/office/drawing/2014/main" id="{10757B99-A1F4-48B0-B3A7-002095D3D975}"/>
              </a:ext>
            </a:extLst>
          </p:cNvPr>
          <p:cNvSpPr txBox="1"/>
          <p:nvPr/>
        </p:nvSpPr>
        <p:spPr>
          <a:xfrm>
            <a:off x="386150" y="4470994"/>
            <a:ext cx="6460393" cy="1424877"/>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400" b="1" i="1"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How AI/GenAI Enhances Metadata Management:</a:t>
            </a:r>
            <a:endParaRPr kumimoji="0" sz="1400" b="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558800">
              <a:spcBef>
                <a:spcPts val="600"/>
              </a:spcBef>
              <a:defRPr/>
            </a:pPr>
            <a:r>
              <a:rPr lang="en-US" sz="1200" b="1"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Ease of Search: </a:t>
            </a:r>
            <a:r>
              <a:rPr lang="en-US" sz="1200"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AI supports search capabilities using natural language processing (NLP), giving users a simple way to locate data assets</a:t>
            </a:r>
            <a:endParaRPr lang="en-US" sz="1200" kern="0" spc="-1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a:p>
            <a:pPr marL="558800">
              <a:spcBef>
                <a:spcPts val="600"/>
              </a:spcBef>
              <a:defRPr/>
            </a:pPr>
            <a:r>
              <a:rPr lang="en-US" sz="1200" b="1"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Predictive Impact Analysis: </a:t>
            </a:r>
            <a:r>
              <a:rPr lang="en-US" sz="1200"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AI can predict the effects of changes in metadata on downstream processes by analyzing historical data and identifying patterns</a:t>
            </a:r>
          </a:p>
          <a:p>
            <a:pPr marL="659130" marR="5080" lvl="0" indent="0" algn="l" defTabSz="914400" rtl="0" eaLnBrk="1" fontAlgn="auto" latinLnBrk="0" hangingPunct="1">
              <a:lnSpc>
                <a:spcPct val="106700"/>
              </a:lnSpc>
              <a:spcBef>
                <a:spcPts val="875"/>
              </a:spcBef>
              <a:spcAft>
                <a:spcPts val="0"/>
              </a:spcAft>
              <a:buClrTx/>
              <a:buSzTx/>
              <a:buFontTx/>
              <a:buNone/>
              <a:tabLst/>
              <a:defRPr/>
            </a:pPr>
            <a:endParaRPr kumimoji="0" lang="en-US" sz="120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 name="Group 8">
            <a:extLst>
              <a:ext uri="{FF2B5EF4-FFF2-40B4-BE49-F238E27FC236}">
                <a16:creationId xmlns:a16="http://schemas.microsoft.com/office/drawing/2014/main" id="{CB26A2AC-0C2B-6DCF-F335-7DAB45CCD167}"/>
              </a:ext>
            </a:extLst>
          </p:cNvPr>
          <p:cNvGrpSpPr/>
          <p:nvPr/>
        </p:nvGrpSpPr>
        <p:grpSpPr>
          <a:xfrm>
            <a:off x="420626" y="4770632"/>
            <a:ext cx="320040" cy="320040"/>
            <a:chOff x="7694127" y="960649"/>
            <a:chExt cx="365760" cy="365760"/>
          </a:xfrm>
          <a:solidFill>
            <a:schemeClr val="accent3"/>
          </a:solidFill>
        </p:grpSpPr>
        <p:sp>
          <p:nvSpPr>
            <p:cNvPr id="10" name="Oval 9">
              <a:extLst>
                <a:ext uri="{FF2B5EF4-FFF2-40B4-BE49-F238E27FC236}">
                  <a16:creationId xmlns:a16="http://schemas.microsoft.com/office/drawing/2014/main" id="{37D25F8B-C4B2-2CCC-61D9-3F0EDB2DD8AF}"/>
                </a:ext>
              </a:extLst>
            </p:cNvPr>
            <p:cNvSpPr/>
            <p:nvPr/>
          </p:nvSpPr>
          <p:spPr>
            <a:xfrm>
              <a:off x="7694127" y="960649"/>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11" name="Graphic 10" descr="Programmer male outline">
              <a:extLst>
                <a:ext uri="{FF2B5EF4-FFF2-40B4-BE49-F238E27FC236}">
                  <a16:creationId xmlns:a16="http://schemas.microsoft.com/office/drawing/2014/main" id="{BBE2F023-F29B-0A32-0C31-82AB2DC3FB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28939" y="995461"/>
              <a:ext cx="296136" cy="296136"/>
            </a:xfrm>
            <a:prstGeom prst="rect">
              <a:avLst/>
            </a:prstGeom>
          </p:spPr>
        </p:pic>
      </p:grpSp>
      <p:grpSp>
        <p:nvGrpSpPr>
          <p:cNvPr id="12" name="Group 11">
            <a:extLst>
              <a:ext uri="{FF2B5EF4-FFF2-40B4-BE49-F238E27FC236}">
                <a16:creationId xmlns:a16="http://schemas.microsoft.com/office/drawing/2014/main" id="{B9E45D61-A35B-392D-3FE7-521A2C311E50}"/>
              </a:ext>
            </a:extLst>
          </p:cNvPr>
          <p:cNvGrpSpPr/>
          <p:nvPr/>
        </p:nvGrpSpPr>
        <p:grpSpPr>
          <a:xfrm>
            <a:off x="420635" y="5187240"/>
            <a:ext cx="320040" cy="320040"/>
            <a:chOff x="7070117" y="138776"/>
            <a:chExt cx="365760" cy="365760"/>
          </a:xfrm>
          <a:solidFill>
            <a:schemeClr val="accent3"/>
          </a:solidFill>
        </p:grpSpPr>
        <p:sp>
          <p:nvSpPr>
            <p:cNvPr id="13" name="Oval 12">
              <a:extLst>
                <a:ext uri="{FF2B5EF4-FFF2-40B4-BE49-F238E27FC236}">
                  <a16:creationId xmlns:a16="http://schemas.microsoft.com/office/drawing/2014/main" id="{61E7BCDF-6C53-08A0-E3B9-376E713EB1D7}"/>
                </a:ext>
              </a:extLst>
            </p:cNvPr>
            <p:cNvSpPr/>
            <p:nvPr/>
          </p:nvSpPr>
          <p:spPr>
            <a:xfrm>
              <a:off x="7070117" y="138776"/>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14" name="Graphic 13" descr="Lightbulb and gear outline">
              <a:extLst>
                <a:ext uri="{FF2B5EF4-FFF2-40B4-BE49-F238E27FC236}">
                  <a16:creationId xmlns:a16="http://schemas.microsoft.com/office/drawing/2014/main" id="{E0D409FA-4C60-20A6-53E7-48F862D816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10056" y="178715"/>
              <a:ext cx="285883" cy="285883"/>
            </a:xfrm>
            <a:prstGeom prst="rect">
              <a:avLst/>
            </a:prstGeom>
          </p:spPr>
        </p:pic>
      </p:grpSp>
      <p:grpSp>
        <p:nvGrpSpPr>
          <p:cNvPr id="15" name="Group 14">
            <a:extLst>
              <a:ext uri="{FF2B5EF4-FFF2-40B4-BE49-F238E27FC236}">
                <a16:creationId xmlns:a16="http://schemas.microsoft.com/office/drawing/2014/main" id="{3698F345-903F-D736-7E8F-1673349E5269}"/>
              </a:ext>
            </a:extLst>
          </p:cNvPr>
          <p:cNvGrpSpPr/>
          <p:nvPr/>
        </p:nvGrpSpPr>
        <p:grpSpPr>
          <a:xfrm>
            <a:off x="420626" y="3954765"/>
            <a:ext cx="320040" cy="320040"/>
            <a:chOff x="5466817" y="250508"/>
            <a:chExt cx="365760" cy="365760"/>
          </a:xfrm>
          <a:solidFill>
            <a:schemeClr val="accent1"/>
          </a:solidFill>
        </p:grpSpPr>
        <p:sp>
          <p:nvSpPr>
            <p:cNvPr id="16" name="Oval 15">
              <a:extLst>
                <a:ext uri="{FF2B5EF4-FFF2-40B4-BE49-F238E27FC236}">
                  <a16:creationId xmlns:a16="http://schemas.microsoft.com/office/drawing/2014/main" id="{47C8B346-86AE-4D6B-FB09-312D99873894}"/>
                </a:ext>
              </a:extLst>
            </p:cNvPr>
            <p:cNvSpPr/>
            <p:nvPr/>
          </p:nvSpPr>
          <p:spPr>
            <a:xfrm>
              <a:off x="5466817" y="250508"/>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17" name="Graphic 16" descr="Statistics outline">
              <a:extLst>
                <a:ext uri="{FF2B5EF4-FFF2-40B4-BE49-F238E27FC236}">
                  <a16:creationId xmlns:a16="http://schemas.microsoft.com/office/drawing/2014/main" id="{5899D94E-1ADA-9493-08AD-C47204AFF5C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17110" y="300801"/>
              <a:ext cx="265175" cy="265175"/>
            </a:xfrm>
            <a:prstGeom prst="rect">
              <a:avLst/>
            </a:prstGeom>
          </p:spPr>
        </p:pic>
      </p:grpSp>
      <p:grpSp>
        <p:nvGrpSpPr>
          <p:cNvPr id="18" name="Group 17">
            <a:extLst>
              <a:ext uri="{FF2B5EF4-FFF2-40B4-BE49-F238E27FC236}">
                <a16:creationId xmlns:a16="http://schemas.microsoft.com/office/drawing/2014/main" id="{10476BD6-3951-D971-269F-F6F118AE6AE4}"/>
              </a:ext>
            </a:extLst>
          </p:cNvPr>
          <p:cNvGrpSpPr/>
          <p:nvPr/>
        </p:nvGrpSpPr>
        <p:grpSpPr>
          <a:xfrm>
            <a:off x="420626" y="3511608"/>
            <a:ext cx="320040" cy="320040"/>
            <a:chOff x="5560550" y="718429"/>
            <a:chExt cx="365760" cy="365760"/>
          </a:xfrm>
          <a:solidFill>
            <a:schemeClr val="accent1"/>
          </a:solidFill>
        </p:grpSpPr>
        <p:sp>
          <p:nvSpPr>
            <p:cNvPr id="19" name="Oval 18">
              <a:extLst>
                <a:ext uri="{FF2B5EF4-FFF2-40B4-BE49-F238E27FC236}">
                  <a16:creationId xmlns:a16="http://schemas.microsoft.com/office/drawing/2014/main" id="{965350FE-A51C-6C7D-A463-57D21317A2FF}"/>
                </a:ext>
              </a:extLst>
            </p:cNvPr>
            <p:cNvSpPr/>
            <p:nvPr/>
          </p:nvSpPr>
          <p:spPr>
            <a:xfrm>
              <a:off x="5560550" y="718429"/>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20" name="Graphic 19" descr="Chat bubble outline">
              <a:extLst>
                <a:ext uri="{FF2B5EF4-FFF2-40B4-BE49-F238E27FC236}">
                  <a16:creationId xmlns:a16="http://schemas.microsoft.com/office/drawing/2014/main" id="{3D58E110-8D0E-46BB-1EA6-59D9EEA1FB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68988" y="745044"/>
              <a:ext cx="329835" cy="329835"/>
            </a:xfrm>
            <a:prstGeom prst="rect">
              <a:avLst/>
            </a:prstGeom>
          </p:spPr>
        </p:pic>
      </p:grpSp>
      <p:grpSp>
        <p:nvGrpSpPr>
          <p:cNvPr id="74" name="Group 73">
            <a:extLst>
              <a:ext uri="{FF2B5EF4-FFF2-40B4-BE49-F238E27FC236}">
                <a16:creationId xmlns:a16="http://schemas.microsoft.com/office/drawing/2014/main" id="{318E6F9A-56BF-D93B-C7AF-4027CDE4D8C3}"/>
              </a:ext>
            </a:extLst>
          </p:cNvPr>
          <p:cNvGrpSpPr/>
          <p:nvPr/>
        </p:nvGrpSpPr>
        <p:grpSpPr>
          <a:xfrm>
            <a:off x="-65599" y="110894"/>
            <a:ext cx="2316456" cy="1760281"/>
            <a:chOff x="270645" y="1943759"/>
            <a:chExt cx="2316456" cy="1760281"/>
          </a:xfrm>
        </p:grpSpPr>
        <p:sp>
          <p:nvSpPr>
            <p:cNvPr id="75" name="TextBox 74">
              <a:extLst>
                <a:ext uri="{FF2B5EF4-FFF2-40B4-BE49-F238E27FC236}">
                  <a16:creationId xmlns:a16="http://schemas.microsoft.com/office/drawing/2014/main" id="{3D131179-4477-A849-3CD6-6EB2CA08632C}"/>
                </a:ext>
              </a:extLst>
            </p:cNvPr>
            <p:cNvSpPr txBox="1"/>
            <p:nvPr/>
          </p:nvSpPr>
          <p:spPr>
            <a:xfrm>
              <a:off x="270645" y="3057709"/>
              <a:ext cx="2316456" cy="646331"/>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Metadata Management</a:t>
              </a:r>
            </a:p>
          </p:txBody>
        </p:sp>
        <p:grpSp>
          <p:nvGrpSpPr>
            <p:cNvPr id="77" name="Graphic 1100">
              <a:extLst>
                <a:ext uri="{FF2B5EF4-FFF2-40B4-BE49-F238E27FC236}">
                  <a16:creationId xmlns:a16="http://schemas.microsoft.com/office/drawing/2014/main" id="{771C1AEE-68EB-DE76-30FE-3B89802EEC56}"/>
                </a:ext>
              </a:extLst>
            </p:cNvPr>
            <p:cNvGrpSpPr/>
            <p:nvPr/>
          </p:nvGrpSpPr>
          <p:grpSpPr>
            <a:xfrm>
              <a:off x="967230" y="1943759"/>
              <a:ext cx="923286" cy="921062"/>
              <a:chOff x="6147119" y="4312706"/>
              <a:chExt cx="362309" cy="361971"/>
            </a:xfrm>
            <a:solidFill>
              <a:schemeClr val="accent1"/>
            </a:solidFill>
          </p:grpSpPr>
          <p:sp>
            <p:nvSpPr>
              <p:cNvPr id="78" name="Graphic 1100">
                <a:extLst>
                  <a:ext uri="{FF2B5EF4-FFF2-40B4-BE49-F238E27FC236}">
                    <a16:creationId xmlns:a16="http://schemas.microsoft.com/office/drawing/2014/main" id="{31F49975-DB86-D27D-7B30-BC993A2DFBBF}"/>
                  </a:ext>
                </a:extLst>
              </p:cNvPr>
              <p:cNvSpPr/>
              <p:nvPr/>
            </p:nvSpPr>
            <p:spPr>
              <a:xfrm>
                <a:off x="6294088" y="4511886"/>
                <a:ext cx="14057" cy="14044"/>
              </a:xfrm>
              <a:custGeom>
                <a:avLst/>
                <a:gdLst>
                  <a:gd name="connsiteX0" fmla="*/ 0 w 14057"/>
                  <a:gd name="connsiteY0" fmla="*/ 10853 h 14044"/>
                  <a:gd name="connsiteX1" fmla="*/ 14058 w 14057"/>
                  <a:gd name="connsiteY1" fmla="*/ 14045 h 14044"/>
                  <a:gd name="connsiteX2" fmla="*/ 10863 w 14057"/>
                  <a:gd name="connsiteY2" fmla="*/ 0 h 14044"/>
                </a:gdLst>
                <a:ahLst/>
                <a:cxnLst>
                  <a:cxn ang="0">
                    <a:pos x="connsiteX0" y="connsiteY0"/>
                  </a:cxn>
                  <a:cxn ang="0">
                    <a:pos x="connsiteX1" y="connsiteY1"/>
                  </a:cxn>
                  <a:cxn ang="0">
                    <a:pos x="connsiteX2" y="connsiteY2"/>
                  </a:cxn>
                </a:cxnLst>
                <a:rect l="l" t="t" r="r" b="b"/>
                <a:pathLst>
                  <a:path w="14057" h="14044">
                    <a:moveTo>
                      <a:pt x="0" y="10853"/>
                    </a:moveTo>
                    <a:lnTo>
                      <a:pt x="14058" y="14045"/>
                    </a:lnTo>
                    <a:lnTo>
                      <a:pt x="10863" y="0"/>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9" name="Graphic 1100">
                <a:extLst>
                  <a:ext uri="{FF2B5EF4-FFF2-40B4-BE49-F238E27FC236}">
                    <a16:creationId xmlns:a16="http://schemas.microsoft.com/office/drawing/2014/main" id="{BD3F9F10-C172-4A7B-AEE6-A1D508972048}"/>
                  </a:ext>
                </a:extLst>
              </p:cNvPr>
              <p:cNvSpPr/>
              <p:nvPr/>
            </p:nvSpPr>
            <p:spPr>
              <a:xfrm>
                <a:off x="6147119" y="431270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69011 w 362309"/>
                  <a:gd name="connsiteY7" fmla="*/ 143640 h 361971"/>
                  <a:gd name="connsiteX8" fmla="*/ 92015 w 362309"/>
                  <a:gd name="connsiteY8" fmla="*/ 120657 h 361971"/>
                  <a:gd name="connsiteX9" fmla="*/ 100961 w 362309"/>
                  <a:gd name="connsiteY9" fmla="*/ 120657 h 361971"/>
                  <a:gd name="connsiteX10" fmla="*/ 166777 w 362309"/>
                  <a:gd name="connsiteY10" fmla="*/ 186412 h 361971"/>
                  <a:gd name="connsiteX11" fmla="*/ 168695 w 362309"/>
                  <a:gd name="connsiteY11" fmla="*/ 189604 h 361971"/>
                  <a:gd name="connsiteX12" fmla="*/ 176362 w 362309"/>
                  <a:gd name="connsiteY12" fmla="*/ 220247 h 361971"/>
                  <a:gd name="connsiteX13" fmla="*/ 171889 w 362309"/>
                  <a:gd name="connsiteY13" fmla="*/ 227908 h 361971"/>
                  <a:gd name="connsiteX14" fmla="*/ 168695 w 362309"/>
                  <a:gd name="connsiteY14" fmla="*/ 227908 h 361971"/>
                  <a:gd name="connsiteX15" fmla="*/ 138662 w 362309"/>
                  <a:gd name="connsiteY15" fmla="*/ 220247 h 361971"/>
                  <a:gd name="connsiteX16" fmla="*/ 135467 w 362309"/>
                  <a:gd name="connsiteY16" fmla="*/ 218332 h 361971"/>
                  <a:gd name="connsiteX17" fmla="*/ 69011 w 362309"/>
                  <a:gd name="connsiteY17" fmla="*/ 151939 h 361971"/>
                  <a:gd name="connsiteX18" fmla="*/ 69011 w 362309"/>
                  <a:gd name="connsiteY18" fmla="*/ 143640 h 361971"/>
                  <a:gd name="connsiteX19" fmla="*/ 69011 w 362309"/>
                  <a:gd name="connsiteY19" fmla="*/ 143640 h 361971"/>
                  <a:gd name="connsiteX20" fmla="*/ 223648 w 362309"/>
                  <a:gd name="connsiteY20" fmla="*/ 198542 h 361971"/>
                  <a:gd name="connsiteX21" fmla="*/ 189781 w 362309"/>
                  <a:gd name="connsiteY21" fmla="*/ 198542 h 361971"/>
                  <a:gd name="connsiteX22" fmla="*/ 183391 w 362309"/>
                  <a:gd name="connsiteY22" fmla="*/ 192158 h 361971"/>
                  <a:gd name="connsiteX23" fmla="*/ 189781 w 362309"/>
                  <a:gd name="connsiteY23" fmla="*/ 185774 h 361971"/>
                  <a:gd name="connsiteX24" fmla="*/ 223648 w 362309"/>
                  <a:gd name="connsiteY24" fmla="*/ 185774 h 361971"/>
                  <a:gd name="connsiteX25" fmla="*/ 230038 w 362309"/>
                  <a:gd name="connsiteY25" fmla="*/ 192158 h 361971"/>
                  <a:gd name="connsiteX26" fmla="*/ 223648 w 362309"/>
                  <a:gd name="connsiteY26" fmla="*/ 198542 h 361971"/>
                  <a:gd name="connsiteX27" fmla="*/ 223648 w 362309"/>
                  <a:gd name="connsiteY27" fmla="*/ 198542 h 361971"/>
                  <a:gd name="connsiteX28" fmla="*/ 228121 w 362309"/>
                  <a:gd name="connsiteY28" fmla="*/ 222163 h 361971"/>
                  <a:gd name="connsiteX29" fmla="*/ 221731 w 362309"/>
                  <a:gd name="connsiteY29" fmla="*/ 228546 h 361971"/>
                  <a:gd name="connsiteX30" fmla="*/ 198088 w 362309"/>
                  <a:gd name="connsiteY30" fmla="*/ 228546 h 361971"/>
                  <a:gd name="connsiteX31" fmla="*/ 191698 w 362309"/>
                  <a:gd name="connsiteY31" fmla="*/ 222163 h 361971"/>
                  <a:gd name="connsiteX32" fmla="*/ 198088 w 362309"/>
                  <a:gd name="connsiteY32" fmla="*/ 215779 h 361971"/>
                  <a:gd name="connsiteX33" fmla="*/ 221731 w 362309"/>
                  <a:gd name="connsiteY33" fmla="*/ 215779 h 361971"/>
                  <a:gd name="connsiteX34" fmla="*/ 228121 w 362309"/>
                  <a:gd name="connsiteY34" fmla="*/ 222163 h 361971"/>
                  <a:gd name="connsiteX35" fmla="*/ 228121 w 362309"/>
                  <a:gd name="connsiteY35" fmla="*/ 222163 h 361971"/>
                  <a:gd name="connsiteX36" fmla="*/ 228121 w 362309"/>
                  <a:gd name="connsiteY36" fmla="*/ 222163 h 361971"/>
                  <a:gd name="connsiteX37" fmla="*/ 223648 w 362309"/>
                  <a:gd name="connsiteY37" fmla="*/ 169176 h 361971"/>
                  <a:gd name="connsiteX38" fmla="*/ 177001 w 362309"/>
                  <a:gd name="connsiteY38" fmla="*/ 169176 h 361971"/>
                  <a:gd name="connsiteX39" fmla="*/ 170611 w 362309"/>
                  <a:gd name="connsiteY39" fmla="*/ 162792 h 361971"/>
                  <a:gd name="connsiteX40" fmla="*/ 177001 w 362309"/>
                  <a:gd name="connsiteY40" fmla="*/ 156408 h 361971"/>
                  <a:gd name="connsiteX41" fmla="*/ 223648 w 362309"/>
                  <a:gd name="connsiteY41" fmla="*/ 156408 h 361971"/>
                  <a:gd name="connsiteX42" fmla="*/ 230038 w 362309"/>
                  <a:gd name="connsiteY42" fmla="*/ 162792 h 361971"/>
                  <a:gd name="connsiteX43" fmla="*/ 223648 w 362309"/>
                  <a:gd name="connsiteY43" fmla="*/ 169176 h 361971"/>
                  <a:gd name="connsiteX44" fmla="*/ 223648 w 362309"/>
                  <a:gd name="connsiteY44" fmla="*/ 169176 h 361971"/>
                  <a:gd name="connsiteX45" fmla="*/ 270294 w 362309"/>
                  <a:gd name="connsiteY45" fmla="*/ 284087 h 361971"/>
                  <a:gd name="connsiteX46" fmla="*/ 263904 w 362309"/>
                  <a:gd name="connsiteY46" fmla="*/ 290471 h 361971"/>
                  <a:gd name="connsiteX47" fmla="*/ 116297 w 362309"/>
                  <a:gd name="connsiteY47" fmla="*/ 290471 h 361971"/>
                  <a:gd name="connsiteX48" fmla="*/ 109907 w 362309"/>
                  <a:gd name="connsiteY48" fmla="*/ 284087 h 361971"/>
                  <a:gd name="connsiteX49" fmla="*/ 109907 w 362309"/>
                  <a:gd name="connsiteY49" fmla="*/ 221524 h 361971"/>
                  <a:gd name="connsiteX50" fmla="*/ 116297 w 362309"/>
                  <a:gd name="connsiteY50" fmla="*/ 215140 h 361971"/>
                  <a:gd name="connsiteX51" fmla="*/ 122687 w 362309"/>
                  <a:gd name="connsiteY51" fmla="*/ 221524 h 361971"/>
                  <a:gd name="connsiteX52" fmla="*/ 122687 w 362309"/>
                  <a:gd name="connsiteY52" fmla="*/ 277703 h 361971"/>
                  <a:gd name="connsiteX53" fmla="*/ 257514 w 362309"/>
                  <a:gd name="connsiteY53" fmla="*/ 277703 h 361971"/>
                  <a:gd name="connsiteX54" fmla="*/ 257514 w 362309"/>
                  <a:gd name="connsiteY54" fmla="*/ 127680 h 361971"/>
                  <a:gd name="connsiteX55" fmla="*/ 220453 w 362309"/>
                  <a:gd name="connsiteY55" fmla="*/ 127680 h 361971"/>
                  <a:gd name="connsiteX56" fmla="*/ 214063 w 362309"/>
                  <a:gd name="connsiteY56" fmla="*/ 121296 h 361971"/>
                  <a:gd name="connsiteX57" fmla="*/ 214063 w 362309"/>
                  <a:gd name="connsiteY57" fmla="*/ 84269 h 361971"/>
                  <a:gd name="connsiteX58" fmla="*/ 122048 w 362309"/>
                  <a:gd name="connsiteY58" fmla="*/ 84269 h 361971"/>
                  <a:gd name="connsiteX59" fmla="*/ 122048 w 362309"/>
                  <a:gd name="connsiteY59" fmla="*/ 112358 h 361971"/>
                  <a:gd name="connsiteX60" fmla="*/ 115658 w 362309"/>
                  <a:gd name="connsiteY60" fmla="*/ 118742 h 361971"/>
                  <a:gd name="connsiteX61" fmla="*/ 109268 w 362309"/>
                  <a:gd name="connsiteY61" fmla="*/ 112358 h 361971"/>
                  <a:gd name="connsiteX62" fmla="*/ 109268 w 362309"/>
                  <a:gd name="connsiteY62" fmla="*/ 77885 h 361971"/>
                  <a:gd name="connsiteX63" fmla="*/ 115658 w 362309"/>
                  <a:gd name="connsiteY63" fmla="*/ 71501 h 361971"/>
                  <a:gd name="connsiteX64" fmla="*/ 220453 w 362309"/>
                  <a:gd name="connsiteY64" fmla="*/ 71501 h 361971"/>
                  <a:gd name="connsiteX65" fmla="*/ 222370 w 362309"/>
                  <a:gd name="connsiteY65" fmla="*/ 72139 h 361971"/>
                  <a:gd name="connsiteX66" fmla="*/ 224287 w 362309"/>
                  <a:gd name="connsiteY66" fmla="*/ 73416 h 361971"/>
                  <a:gd name="connsiteX67" fmla="*/ 267739 w 362309"/>
                  <a:gd name="connsiteY67" fmla="*/ 116827 h 361971"/>
                  <a:gd name="connsiteX68" fmla="*/ 269016 w 362309"/>
                  <a:gd name="connsiteY68" fmla="*/ 118742 h 361971"/>
                  <a:gd name="connsiteX69" fmla="*/ 269655 w 362309"/>
                  <a:gd name="connsiteY69" fmla="*/ 121296 h 361971"/>
                  <a:gd name="connsiteX70" fmla="*/ 270294 w 362309"/>
                  <a:gd name="connsiteY70" fmla="*/ 28408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157" y="0"/>
                      <a:pt x="181474" y="0"/>
                    </a:cubicBezTo>
                    <a:lnTo>
                      <a:pt x="181474" y="0"/>
                    </a:lnTo>
                    <a:close/>
                    <a:moveTo>
                      <a:pt x="69011" y="143640"/>
                    </a:moveTo>
                    <a:lnTo>
                      <a:pt x="92015" y="120657"/>
                    </a:lnTo>
                    <a:cubicBezTo>
                      <a:pt x="94571" y="118104"/>
                      <a:pt x="98405" y="118104"/>
                      <a:pt x="100961" y="120657"/>
                    </a:cubicBezTo>
                    <a:lnTo>
                      <a:pt x="166777" y="186412"/>
                    </a:lnTo>
                    <a:cubicBezTo>
                      <a:pt x="167416" y="187051"/>
                      <a:pt x="168055" y="188327"/>
                      <a:pt x="168695" y="189604"/>
                    </a:cubicBezTo>
                    <a:lnTo>
                      <a:pt x="176362" y="220247"/>
                    </a:lnTo>
                    <a:cubicBezTo>
                      <a:pt x="177001" y="223439"/>
                      <a:pt x="175084" y="227270"/>
                      <a:pt x="171889" y="227908"/>
                    </a:cubicBezTo>
                    <a:cubicBezTo>
                      <a:pt x="170611" y="227908"/>
                      <a:pt x="169972" y="227908"/>
                      <a:pt x="168695" y="227908"/>
                    </a:cubicBezTo>
                    <a:lnTo>
                      <a:pt x="138662" y="220247"/>
                    </a:lnTo>
                    <a:cubicBezTo>
                      <a:pt x="137384" y="220247"/>
                      <a:pt x="136745" y="219609"/>
                      <a:pt x="135467" y="218332"/>
                    </a:cubicBezTo>
                    <a:lnTo>
                      <a:pt x="69011" y="151939"/>
                    </a:lnTo>
                    <a:cubicBezTo>
                      <a:pt x="66456" y="150662"/>
                      <a:pt x="66456" y="146193"/>
                      <a:pt x="69011" y="143640"/>
                    </a:cubicBezTo>
                    <a:cubicBezTo>
                      <a:pt x="69011" y="144278"/>
                      <a:pt x="69011" y="144278"/>
                      <a:pt x="69011" y="143640"/>
                    </a:cubicBezTo>
                    <a:close/>
                    <a:moveTo>
                      <a:pt x="223648" y="198542"/>
                    </a:moveTo>
                    <a:lnTo>
                      <a:pt x="189781" y="198542"/>
                    </a:lnTo>
                    <a:cubicBezTo>
                      <a:pt x="185947" y="198542"/>
                      <a:pt x="183391" y="195988"/>
                      <a:pt x="183391" y="192158"/>
                    </a:cubicBezTo>
                    <a:cubicBezTo>
                      <a:pt x="183391" y="188327"/>
                      <a:pt x="185947" y="185774"/>
                      <a:pt x="189781" y="185774"/>
                    </a:cubicBezTo>
                    <a:lnTo>
                      <a:pt x="223648" y="185774"/>
                    </a:lnTo>
                    <a:cubicBezTo>
                      <a:pt x="227482" y="185774"/>
                      <a:pt x="230038" y="188327"/>
                      <a:pt x="230038" y="192158"/>
                    </a:cubicBezTo>
                    <a:cubicBezTo>
                      <a:pt x="230038" y="195988"/>
                      <a:pt x="227482" y="198542"/>
                      <a:pt x="223648" y="198542"/>
                    </a:cubicBezTo>
                    <a:lnTo>
                      <a:pt x="223648" y="198542"/>
                    </a:lnTo>
                    <a:close/>
                    <a:moveTo>
                      <a:pt x="228121" y="222163"/>
                    </a:moveTo>
                    <a:cubicBezTo>
                      <a:pt x="228121" y="225993"/>
                      <a:pt x="225565" y="228546"/>
                      <a:pt x="221731" y="228546"/>
                    </a:cubicBezTo>
                    <a:lnTo>
                      <a:pt x="198088" y="228546"/>
                    </a:lnTo>
                    <a:cubicBezTo>
                      <a:pt x="194254" y="228546"/>
                      <a:pt x="191698" y="225993"/>
                      <a:pt x="191698" y="222163"/>
                    </a:cubicBezTo>
                    <a:cubicBezTo>
                      <a:pt x="191698" y="218332"/>
                      <a:pt x="194254" y="215779"/>
                      <a:pt x="198088" y="215779"/>
                    </a:cubicBezTo>
                    <a:lnTo>
                      <a:pt x="221731" y="215779"/>
                    </a:lnTo>
                    <a:cubicBezTo>
                      <a:pt x="224926" y="215779"/>
                      <a:pt x="228121" y="218332"/>
                      <a:pt x="228121" y="222163"/>
                    </a:cubicBezTo>
                    <a:cubicBezTo>
                      <a:pt x="228121" y="222163"/>
                      <a:pt x="228121" y="222163"/>
                      <a:pt x="228121" y="222163"/>
                    </a:cubicBezTo>
                    <a:lnTo>
                      <a:pt x="228121" y="222163"/>
                    </a:lnTo>
                    <a:close/>
                    <a:moveTo>
                      <a:pt x="223648" y="169176"/>
                    </a:moveTo>
                    <a:lnTo>
                      <a:pt x="177001" y="169176"/>
                    </a:lnTo>
                    <a:cubicBezTo>
                      <a:pt x="173167" y="169176"/>
                      <a:pt x="170611" y="166622"/>
                      <a:pt x="170611" y="162792"/>
                    </a:cubicBezTo>
                    <a:cubicBezTo>
                      <a:pt x="170611" y="158961"/>
                      <a:pt x="173167" y="156408"/>
                      <a:pt x="177001" y="156408"/>
                    </a:cubicBezTo>
                    <a:lnTo>
                      <a:pt x="223648" y="156408"/>
                    </a:lnTo>
                    <a:cubicBezTo>
                      <a:pt x="227482" y="156408"/>
                      <a:pt x="230038" y="158961"/>
                      <a:pt x="230038" y="162792"/>
                    </a:cubicBezTo>
                    <a:cubicBezTo>
                      <a:pt x="230038" y="166622"/>
                      <a:pt x="227482" y="169176"/>
                      <a:pt x="223648" y="169176"/>
                    </a:cubicBezTo>
                    <a:lnTo>
                      <a:pt x="223648" y="169176"/>
                    </a:lnTo>
                    <a:close/>
                    <a:moveTo>
                      <a:pt x="270294" y="284087"/>
                    </a:moveTo>
                    <a:cubicBezTo>
                      <a:pt x="270294" y="287918"/>
                      <a:pt x="267739" y="290471"/>
                      <a:pt x="263904" y="290471"/>
                    </a:cubicBezTo>
                    <a:lnTo>
                      <a:pt x="116297" y="290471"/>
                    </a:lnTo>
                    <a:cubicBezTo>
                      <a:pt x="112463" y="290471"/>
                      <a:pt x="109907" y="287918"/>
                      <a:pt x="109907" y="284087"/>
                    </a:cubicBezTo>
                    <a:lnTo>
                      <a:pt x="109907" y="221524"/>
                    </a:lnTo>
                    <a:cubicBezTo>
                      <a:pt x="109907" y="217694"/>
                      <a:pt x="112463" y="215140"/>
                      <a:pt x="116297" y="215140"/>
                    </a:cubicBezTo>
                    <a:cubicBezTo>
                      <a:pt x="120131" y="215140"/>
                      <a:pt x="122687" y="217694"/>
                      <a:pt x="122687" y="221524"/>
                    </a:cubicBezTo>
                    <a:lnTo>
                      <a:pt x="122687" y="277703"/>
                    </a:lnTo>
                    <a:lnTo>
                      <a:pt x="257514" y="277703"/>
                    </a:lnTo>
                    <a:lnTo>
                      <a:pt x="257514" y="127680"/>
                    </a:lnTo>
                    <a:lnTo>
                      <a:pt x="220453" y="127680"/>
                    </a:lnTo>
                    <a:cubicBezTo>
                      <a:pt x="216619" y="127680"/>
                      <a:pt x="214063" y="125126"/>
                      <a:pt x="214063" y="121296"/>
                    </a:cubicBezTo>
                    <a:lnTo>
                      <a:pt x="214063" y="84269"/>
                    </a:lnTo>
                    <a:lnTo>
                      <a:pt x="122048" y="84269"/>
                    </a:lnTo>
                    <a:lnTo>
                      <a:pt x="122048" y="112358"/>
                    </a:lnTo>
                    <a:cubicBezTo>
                      <a:pt x="122048" y="116189"/>
                      <a:pt x="119492" y="118742"/>
                      <a:pt x="115658" y="118742"/>
                    </a:cubicBezTo>
                    <a:cubicBezTo>
                      <a:pt x="111824" y="118742"/>
                      <a:pt x="109268" y="116189"/>
                      <a:pt x="109268" y="112358"/>
                    </a:cubicBezTo>
                    <a:lnTo>
                      <a:pt x="109268" y="77885"/>
                    </a:lnTo>
                    <a:cubicBezTo>
                      <a:pt x="109268" y="74054"/>
                      <a:pt x="111824" y="71501"/>
                      <a:pt x="115658" y="71501"/>
                    </a:cubicBezTo>
                    <a:lnTo>
                      <a:pt x="220453" y="71501"/>
                    </a:lnTo>
                    <a:cubicBezTo>
                      <a:pt x="221092" y="71501"/>
                      <a:pt x="221731" y="71501"/>
                      <a:pt x="222370" y="72139"/>
                    </a:cubicBezTo>
                    <a:cubicBezTo>
                      <a:pt x="223009" y="72139"/>
                      <a:pt x="223648" y="72778"/>
                      <a:pt x="224287" y="73416"/>
                    </a:cubicBezTo>
                    <a:lnTo>
                      <a:pt x="267739" y="116827"/>
                    </a:lnTo>
                    <a:cubicBezTo>
                      <a:pt x="268377" y="117465"/>
                      <a:pt x="269016" y="118104"/>
                      <a:pt x="269016" y="118742"/>
                    </a:cubicBezTo>
                    <a:cubicBezTo>
                      <a:pt x="269655" y="119381"/>
                      <a:pt x="269655" y="120657"/>
                      <a:pt x="269655" y="121296"/>
                    </a:cubicBezTo>
                    <a:lnTo>
                      <a:pt x="270294" y="284087"/>
                    </a:lnTo>
                    <a:close/>
                  </a:path>
                </a:pathLst>
              </a:custGeom>
              <a:solidFill>
                <a:schemeClr val="accent6">
                  <a:lumMod val="100000"/>
                </a:schemeClr>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0" name="Graphic 1100">
                <a:extLst>
                  <a:ext uri="{FF2B5EF4-FFF2-40B4-BE49-F238E27FC236}">
                    <a16:creationId xmlns:a16="http://schemas.microsoft.com/office/drawing/2014/main" id="{657506DC-2A45-4358-43BA-8AF988FA02F4}"/>
                  </a:ext>
                </a:extLst>
              </p:cNvPr>
              <p:cNvSpPr/>
              <p:nvPr/>
            </p:nvSpPr>
            <p:spPr>
              <a:xfrm rot="-2700000">
                <a:off x="6253559" y="4442836"/>
                <a:ext cx="19808" cy="75968"/>
              </a:xfrm>
              <a:custGeom>
                <a:avLst/>
                <a:gdLst>
                  <a:gd name="connsiteX0" fmla="*/ 0 w 19808"/>
                  <a:gd name="connsiteY0" fmla="*/ 0 h 75968"/>
                  <a:gd name="connsiteX1" fmla="*/ 19808 w 19808"/>
                  <a:gd name="connsiteY1" fmla="*/ 0 h 75968"/>
                  <a:gd name="connsiteX2" fmla="*/ 19808 w 19808"/>
                  <a:gd name="connsiteY2" fmla="*/ 75969 h 75968"/>
                  <a:gd name="connsiteX3" fmla="*/ 0 w 19808"/>
                  <a:gd name="connsiteY3" fmla="*/ 75969 h 75968"/>
                </a:gdLst>
                <a:ahLst/>
                <a:cxnLst>
                  <a:cxn ang="0">
                    <a:pos x="connsiteX0" y="connsiteY0"/>
                  </a:cxn>
                  <a:cxn ang="0">
                    <a:pos x="connsiteX1" y="connsiteY1"/>
                  </a:cxn>
                  <a:cxn ang="0">
                    <a:pos x="connsiteX2" y="connsiteY2"/>
                  </a:cxn>
                  <a:cxn ang="0">
                    <a:pos x="connsiteX3" y="connsiteY3"/>
                  </a:cxn>
                </a:cxnLst>
                <a:rect l="l" t="t" r="r" b="b"/>
                <a:pathLst>
                  <a:path w="19808" h="75968">
                    <a:moveTo>
                      <a:pt x="0" y="0"/>
                    </a:moveTo>
                    <a:lnTo>
                      <a:pt x="19808" y="0"/>
                    </a:lnTo>
                    <a:lnTo>
                      <a:pt x="19808" y="75969"/>
                    </a:lnTo>
                    <a:lnTo>
                      <a:pt x="0" y="75969"/>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1" name="Graphic 1100">
                <a:extLst>
                  <a:ext uri="{FF2B5EF4-FFF2-40B4-BE49-F238E27FC236}">
                    <a16:creationId xmlns:a16="http://schemas.microsoft.com/office/drawing/2014/main" id="{20041E0E-59D6-FDA0-DDB2-5274A11C5E92}"/>
                  </a:ext>
                </a:extLst>
              </p:cNvPr>
              <p:cNvSpPr/>
              <p:nvPr/>
            </p:nvSpPr>
            <p:spPr>
              <a:xfrm>
                <a:off x="6373962" y="4405912"/>
                <a:ext cx="21086" cy="21705"/>
              </a:xfrm>
              <a:custGeom>
                <a:avLst/>
                <a:gdLst>
                  <a:gd name="connsiteX0" fmla="*/ 0 w 21086"/>
                  <a:gd name="connsiteY0" fmla="*/ 0 h 21705"/>
                  <a:gd name="connsiteX1" fmla="*/ 0 w 21086"/>
                  <a:gd name="connsiteY1" fmla="*/ 21705 h 21705"/>
                  <a:gd name="connsiteX2" fmla="*/ 21087 w 21086"/>
                  <a:gd name="connsiteY2" fmla="*/ 21705 h 21705"/>
                </a:gdLst>
                <a:ahLst/>
                <a:cxnLst>
                  <a:cxn ang="0">
                    <a:pos x="connsiteX0" y="connsiteY0"/>
                  </a:cxn>
                  <a:cxn ang="0">
                    <a:pos x="connsiteX1" y="connsiteY1"/>
                  </a:cxn>
                  <a:cxn ang="0">
                    <a:pos x="connsiteX2" y="connsiteY2"/>
                  </a:cxn>
                </a:cxnLst>
                <a:rect l="l" t="t" r="r" b="b"/>
                <a:pathLst>
                  <a:path w="21086" h="21705">
                    <a:moveTo>
                      <a:pt x="0" y="0"/>
                    </a:moveTo>
                    <a:lnTo>
                      <a:pt x="0" y="21705"/>
                    </a:lnTo>
                    <a:lnTo>
                      <a:pt x="21087" y="21705"/>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pic>
        <p:nvPicPr>
          <p:cNvPr id="82" name="Picture 81" descr="image.png">
            <a:extLst>
              <a:ext uri="{FF2B5EF4-FFF2-40B4-BE49-F238E27FC236}">
                <a16:creationId xmlns:a16="http://schemas.microsoft.com/office/drawing/2014/main" id="{29229F17-3869-32E8-A63F-0D6151342895}"/>
              </a:ext>
            </a:extLst>
          </p:cNvPr>
          <p:cNvPicPr>
            <a:picLocks noChangeAspect="1"/>
          </p:cNvPicPr>
          <p:nvPr/>
        </p:nvPicPr>
        <p:blipFill>
          <a:blip r:embed="rId12"/>
          <a:stretch>
            <a:fillRect/>
          </a:stretch>
        </p:blipFill>
        <p:spPr>
          <a:xfrm flipH="1">
            <a:off x="7072390" y="2906666"/>
            <a:ext cx="5119610" cy="3981559"/>
          </a:xfrm>
          <a:prstGeom prst="rect">
            <a:avLst/>
          </a:prstGeom>
        </p:spPr>
      </p:pic>
      <p:sp>
        <p:nvSpPr>
          <p:cNvPr id="83" name="Rectangle 82">
            <a:extLst>
              <a:ext uri="{FF2B5EF4-FFF2-40B4-BE49-F238E27FC236}">
                <a16:creationId xmlns:a16="http://schemas.microsoft.com/office/drawing/2014/main" id="{8D578B6D-0ADB-B00A-155C-E97EBDBC7160}"/>
              </a:ext>
            </a:extLst>
          </p:cNvPr>
          <p:cNvSpPr/>
          <p:nvPr/>
        </p:nvSpPr>
        <p:spPr bwMode="gray">
          <a:xfrm>
            <a:off x="166977" y="6249725"/>
            <a:ext cx="1447138" cy="6082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Tree>
    <p:extLst>
      <p:ext uri="{BB962C8B-B14F-4D97-AF65-F5344CB8AC3E}">
        <p14:creationId xmlns:p14="http://schemas.microsoft.com/office/powerpoint/2010/main" val="24138986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0EC06-063E-A698-EA08-4353EEC8F9BE}"/>
            </a:ext>
          </a:extLst>
        </p:cNvPr>
        <p:cNvGrpSpPr/>
        <p:nvPr/>
      </p:nvGrpSpPr>
      <p:grpSpPr>
        <a:xfrm>
          <a:off x="0" y="0"/>
          <a:ext cx="0" cy="0"/>
          <a:chOff x="0" y="0"/>
          <a:chExt cx="0" cy="0"/>
        </a:xfrm>
      </p:grpSpPr>
      <p:sp>
        <p:nvSpPr>
          <p:cNvPr id="18" name="TextBox 17">
            <a:extLst>
              <a:ext uri="{FF2B5EF4-FFF2-40B4-BE49-F238E27FC236}">
                <a16:creationId xmlns:a16="http://schemas.microsoft.com/office/drawing/2014/main" id="{ADF60A9F-9A22-E9B3-7B2A-5DEEEFDFF459}"/>
              </a:ext>
            </a:extLst>
          </p:cNvPr>
          <p:cNvSpPr txBox="1"/>
          <p:nvPr/>
        </p:nvSpPr>
        <p:spPr>
          <a:xfrm>
            <a:off x="4025053" y="519934"/>
            <a:ext cx="6094674" cy="923330"/>
          </a:xfrm>
          <a:prstGeom prst="rect">
            <a:avLst/>
          </a:prstGeom>
          <a:noFill/>
        </p:spPr>
        <p:txBody>
          <a:bodyPr wrap="square">
            <a:spAutoFit/>
          </a:bodyPr>
          <a:lstStyle/>
          <a:p>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Data Quality (DQ) refers both to the characteristics of high-quality data and to the processes used to measure or improve the quality of data</a:t>
            </a:r>
          </a:p>
        </p:txBody>
      </p:sp>
      <p:sp>
        <p:nvSpPr>
          <p:cNvPr id="19" name="object 22">
            <a:extLst>
              <a:ext uri="{FF2B5EF4-FFF2-40B4-BE49-F238E27FC236}">
                <a16:creationId xmlns:a16="http://schemas.microsoft.com/office/drawing/2014/main" id="{DC5922EF-5788-55BB-5F26-3A3692C4EFB5}"/>
              </a:ext>
            </a:extLst>
          </p:cNvPr>
          <p:cNvSpPr txBox="1"/>
          <p:nvPr/>
        </p:nvSpPr>
        <p:spPr>
          <a:xfrm>
            <a:off x="375831" y="2469392"/>
            <a:ext cx="6441231" cy="1383071"/>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400" b="1" i="1"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Key Data Quality Capabilities: </a:t>
            </a:r>
          </a:p>
          <a:p>
            <a:pPr marL="558800" marR="0" lvl="0" indent="0" algn="l" defTabSz="914400" rtl="0" eaLnBrk="1" fontAlgn="auto" latinLnBrk="0" hangingPunct="1">
              <a:spcBef>
                <a:spcPts val="600"/>
              </a:spcBef>
              <a:buClrTx/>
              <a:buSzTx/>
              <a:buFontTx/>
              <a:buNone/>
              <a:tabLst>
                <a:tab pos="730250" algn="l"/>
              </a:tabLst>
              <a:defRPr/>
            </a:pPr>
            <a:r>
              <a:rPr kumimoji="0" lang="en-US" sz="1200" b="1"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Profiling: </a:t>
            </a:r>
            <a:r>
              <a:rPr kumimoji="0" lang="en-US" sz="1200" b="0"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Identify potential data quality issues and develop solutions for remediation</a:t>
            </a:r>
          </a:p>
          <a:p>
            <a:pPr marL="558800" marR="0" lvl="0" indent="0" algn="l" defTabSz="914400" rtl="0" eaLnBrk="1" fontAlgn="auto" latinLnBrk="0" hangingPunct="1">
              <a:spcBef>
                <a:spcPts val="300"/>
              </a:spcBef>
              <a:spcAft>
                <a:spcPts val="600"/>
              </a:spcAft>
              <a:buClrTx/>
              <a:buSzTx/>
              <a:buFontTx/>
              <a:buNone/>
              <a:tabLst>
                <a:tab pos="730250" algn="l"/>
              </a:tabLst>
              <a:defRPr/>
            </a:pPr>
            <a:r>
              <a:rPr kumimoji="0" lang="en-US" sz="1200" b="1"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Cleansing: </a:t>
            </a:r>
            <a:r>
              <a:rPr kumimoji="0" lang="en-US" sz="1200" b="0"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Correct or remove inaccurate records from a dataset</a:t>
            </a:r>
          </a:p>
          <a:p>
            <a:pPr marL="558800" marR="0" lvl="0" indent="0" algn="l" defTabSz="914400" rtl="0" eaLnBrk="1" fontAlgn="auto" latinLnBrk="0" hangingPunct="1">
              <a:spcBef>
                <a:spcPts val="300"/>
              </a:spcBef>
              <a:spcAft>
                <a:spcPts val="600"/>
              </a:spcAft>
              <a:buClrTx/>
              <a:buSzTx/>
              <a:buFontTx/>
              <a:buNone/>
              <a:tabLst/>
              <a:defRPr/>
            </a:pPr>
            <a:r>
              <a:rPr kumimoji="0" lang="en-US" sz="1200" b="1"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Quality Tracking</a:t>
            </a:r>
            <a:r>
              <a:rPr kumimoji="0" lang="en-US" sz="1200" b="1"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Track the success and opportunities with metrics reflecting the progress of data quality efforts</a:t>
            </a:r>
          </a:p>
        </p:txBody>
      </p:sp>
      <p:sp>
        <p:nvSpPr>
          <p:cNvPr id="20" name="object 28">
            <a:extLst>
              <a:ext uri="{FF2B5EF4-FFF2-40B4-BE49-F238E27FC236}">
                <a16:creationId xmlns:a16="http://schemas.microsoft.com/office/drawing/2014/main" id="{1DE9B1F6-EB50-D928-E3BA-42D6C08399CC}"/>
              </a:ext>
            </a:extLst>
          </p:cNvPr>
          <p:cNvSpPr txBox="1"/>
          <p:nvPr/>
        </p:nvSpPr>
        <p:spPr>
          <a:xfrm>
            <a:off x="375831" y="4018438"/>
            <a:ext cx="6441231" cy="1306127"/>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400" b="1" i="1"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How AI/GenAI </a:t>
            </a:r>
            <a:r>
              <a:rPr lang="en-US" sz="1400" b="1" i="1"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E</a:t>
            </a:r>
            <a:r>
              <a:rPr kumimoji="0" lang="en-US" sz="1400" b="1" i="1" u="none" strike="noStrike" kern="0" cap="none" spc="0" normalizeH="0" baseline="0" noProof="0" err="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nhances</a:t>
            </a:r>
            <a:r>
              <a:rPr kumimoji="0" lang="en-US" sz="1400" b="1" i="1"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 Data Quality:</a:t>
            </a:r>
          </a:p>
          <a:p>
            <a:pPr marL="558800" marR="0" lvl="0" indent="0" algn="l" defTabSz="914400" rtl="0" eaLnBrk="1" fontAlgn="auto" latinLnBrk="0" hangingPunct="1">
              <a:lnSpc>
                <a:spcPct val="100000"/>
              </a:lnSpc>
              <a:spcBef>
                <a:spcPts val="600"/>
              </a:spcBef>
              <a:spcAft>
                <a:spcPts val="0"/>
              </a:spcAft>
              <a:buClrTx/>
              <a:buSzTx/>
              <a:buFontTx/>
              <a:buNone/>
              <a:tabLst>
                <a:tab pos="730250" algn="l"/>
              </a:tabLst>
              <a:defRPr/>
            </a:pPr>
            <a:r>
              <a:rPr kumimoji="0" lang="en-US" sz="1200" b="1"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Automate Data Cleansing and Data Preparation:</a:t>
            </a:r>
            <a:r>
              <a:rPr lang="en-US" sz="1200" b="1" kern="0">
                <a:solidFill>
                  <a:srgbClr val="3E3E3E"/>
                </a:solidFill>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AI/GenAI can identify and correct errors in datasets. This could include duplicate detection/removal, error correction, and general standardization</a:t>
            </a:r>
          </a:p>
          <a:p>
            <a:pPr marL="558800" marR="0" lvl="0" indent="0" algn="l" defTabSz="914400" rtl="0" eaLnBrk="1" fontAlgn="auto" latinLnBrk="0" hangingPunct="1">
              <a:lnSpc>
                <a:spcPct val="100000"/>
              </a:lnSpc>
              <a:spcBef>
                <a:spcPts val="600"/>
              </a:spcBef>
              <a:spcAft>
                <a:spcPts val="0"/>
              </a:spcAft>
              <a:buClrTx/>
              <a:buSzTx/>
              <a:buFontTx/>
              <a:buNone/>
              <a:tabLst>
                <a:tab pos="730250" algn="l"/>
              </a:tabLst>
              <a:defRPr/>
            </a:pPr>
            <a:r>
              <a:rPr kumimoji="0" lang="en-US" sz="1200" b="1"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Quality Rule Creation</a:t>
            </a:r>
            <a:r>
              <a:rPr lang="en-US" sz="1200" b="1" kern="0">
                <a:solidFill>
                  <a:srgbClr val="3E3E3E"/>
                </a:solidFill>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Generative AI</a:t>
            </a:r>
            <a:r>
              <a:rPr lang="en-US" sz="1200" kern="0">
                <a:solidFill>
                  <a:srgbClr val="3E3E3E"/>
                </a:solidFill>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can help users write DQ rules so organizations can deploy and monitor data in a faster timeframe</a:t>
            </a:r>
            <a:endParaRPr kumimoji="0" lang="en-US" sz="120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1" name="Group 20">
            <a:extLst>
              <a:ext uri="{FF2B5EF4-FFF2-40B4-BE49-F238E27FC236}">
                <a16:creationId xmlns:a16="http://schemas.microsoft.com/office/drawing/2014/main" id="{7C17A679-363E-C77E-4E9D-D3A54212DFB6}"/>
              </a:ext>
            </a:extLst>
          </p:cNvPr>
          <p:cNvGrpSpPr/>
          <p:nvPr/>
        </p:nvGrpSpPr>
        <p:grpSpPr>
          <a:xfrm>
            <a:off x="420626" y="4310733"/>
            <a:ext cx="320040" cy="320040"/>
            <a:chOff x="7694127" y="960649"/>
            <a:chExt cx="365760" cy="365760"/>
          </a:xfrm>
          <a:solidFill>
            <a:schemeClr val="accent3"/>
          </a:solidFill>
        </p:grpSpPr>
        <p:sp>
          <p:nvSpPr>
            <p:cNvPr id="22" name="Oval 21">
              <a:extLst>
                <a:ext uri="{FF2B5EF4-FFF2-40B4-BE49-F238E27FC236}">
                  <a16:creationId xmlns:a16="http://schemas.microsoft.com/office/drawing/2014/main" id="{C827EC0A-749C-36EC-81DB-D2A1CE53D8FA}"/>
                </a:ext>
              </a:extLst>
            </p:cNvPr>
            <p:cNvSpPr/>
            <p:nvPr/>
          </p:nvSpPr>
          <p:spPr>
            <a:xfrm>
              <a:off x="7694127" y="960649"/>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23" name="Graphic 22" descr="Programmer male outline">
              <a:extLst>
                <a:ext uri="{FF2B5EF4-FFF2-40B4-BE49-F238E27FC236}">
                  <a16:creationId xmlns:a16="http://schemas.microsoft.com/office/drawing/2014/main" id="{AEB5C79B-53AA-7540-BBDF-DCD4F40720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28939" y="995461"/>
              <a:ext cx="296136" cy="296136"/>
            </a:xfrm>
            <a:prstGeom prst="rect">
              <a:avLst/>
            </a:prstGeom>
          </p:spPr>
        </p:pic>
      </p:grpSp>
      <p:grpSp>
        <p:nvGrpSpPr>
          <p:cNvPr id="24" name="Group 23">
            <a:extLst>
              <a:ext uri="{FF2B5EF4-FFF2-40B4-BE49-F238E27FC236}">
                <a16:creationId xmlns:a16="http://schemas.microsoft.com/office/drawing/2014/main" id="{9471DC49-5C92-7AF9-27F2-22FA3BD7441F}"/>
              </a:ext>
            </a:extLst>
          </p:cNvPr>
          <p:cNvGrpSpPr/>
          <p:nvPr/>
        </p:nvGrpSpPr>
        <p:grpSpPr>
          <a:xfrm>
            <a:off x="420626" y="4902135"/>
            <a:ext cx="320040" cy="320040"/>
            <a:chOff x="7684184" y="324585"/>
            <a:chExt cx="365760" cy="365760"/>
          </a:xfrm>
          <a:solidFill>
            <a:schemeClr val="accent3"/>
          </a:solidFill>
        </p:grpSpPr>
        <p:sp>
          <p:nvSpPr>
            <p:cNvPr id="25" name="Oval 24">
              <a:extLst>
                <a:ext uri="{FF2B5EF4-FFF2-40B4-BE49-F238E27FC236}">
                  <a16:creationId xmlns:a16="http://schemas.microsoft.com/office/drawing/2014/main" id="{8C294512-1CED-A612-8CB0-173B25955506}"/>
                </a:ext>
              </a:extLst>
            </p:cNvPr>
            <p:cNvSpPr/>
            <p:nvPr/>
          </p:nvSpPr>
          <p:spPr>
            <a:xfrm>
              <a:off x="7684184" y="324585"/>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26" name="Graphic 25" descr="Cmd Terminal outline">
              <a:extLst>
                <a:ext uri="{FF2B5EF4-FFF2-40B4-BE49-F238E27FC236}">
                  <a16:creationId xmlns:a16="http://schemas.microsoft.com/office/drawing/2014/main" id="{DD91DC36-4AD9-DE46-AFEE-130D455727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7068" y="357469"/>
              <a:ext cx="299992" cy="299992"/>
            </a:xfrm>
            <a:prstGeom prst="rect">
              <a:avLst/>
            </a:prstGeom>
          </p:spPr>
        </p:pic>
      </p:grpSp>
      <p:grpSp>
        <p:nvGrpSpPr>
          <p:cNvPr id="27" name="Group 26">
            <a:extLst>
              <a:ext uri="{FF2B5EF4-FFF2-40B4-BE49-F238E27FC236}">
                <a16:creationId xmlns:a16="http://schemas.microsoft.com/office/drawing/2014/main" id="{FB77FD74-ACA0-A8FC-6B2C-3D1E67F5C47F}"/>
              </a:ext>
            </a:extLst>
          </p:cNvPr>
          <p:cNvGrpSpPr/>
          <p:nvPr/>
        </p:nvGrpSpPr>
        <p:grpSpPr>
          <a:xfrm>
            <a:off x="420626" y="3160927"/>
            <a:ext cx="320040" cy="320040"/>
            <a:chOff x="4775064" y="-31330"/>
            <a:chExt cx="365760" cy="365760"/>
          </a:xfrm>
          <a:solidFill>
            <a:schemeClr val="accent1"/>
          </a:solidFill>
        </p:grpSpPr>
        <p:sp>
          <p:nvSpPr>
            <p:cNvPr id="28" name="Oval 27">
              <a:extLst>
                <a:ext uri="{FF2B5EF4-FFF2-40B4-BE49-F238E27FC236}">
                  <a16:creationId xmlns:a16="http://schemas.microsoft.com/office/drawing/2014/main" id="{87ED9DF9-34EB-3D4B-BD66-EB79DCFB873E}"/>
                </a:ext>
              </a:extLst>
            </p:cNvPr>
            <p:cNvSpPr/>
            <p:nvPr/>
          </p:nvSpPr>
          <p:spPr>
            <a:xfrm>
              <a:off x="4775064" y="-31330"/>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29" name="Graphic 28" descr="Soap outline">
              <a:extLst>
                <a:ext uri="{FF2B5EF4-FFF2-40B4-BE49-F238E27FC236}">
                  <a16:creationId xmlns:a16="http://schemas.microsoft.com/office/drawing/2014/main" id="{18D71F06-E6A8-2677-A0E8-0ED5AE7DB1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04207" y="-2187"/>
              <a:ext cx="307475" cy="307475"/>
            </a:xfrm>
            <a:prstGeom prst="rect">
              <a:avLst/>
            </a:prstGeom>
          </p:spPr>
        </p:pic>
      </p:grpSp>
      <p:grpSp>
        <p:nvGrpSpPr>
          <p:cNvPr id="30" name="Group 29">
            <a:extLst>
              <a:ext uri="{FF2B5EF4-FFF2-40B4-BE49-F238E27FC236}">
                <a16:creationId xmlns:a16="http://schemas.microsoft.com/office/drawing/2014/main" id="{C1E222CD-7173-69F1-8251-C8EA039FC5AC}"/>
              </a:ext>
            </a:extLst>
          </p:cNvPr>
          <p:cNvGrpSpPr/>
          <p:nvPr/>
        </p:nvGrpSpPr>
        <p:grpSpPr>
          <a:xfrm>
            <a:off x="420626" y="3508143"/>
            <a:ext cx="320040" cy="320040"/>
            <a:chOff x="5494888" y="64885"/>
            <a:chExt cx="365760" cy="365760"/>
          </a:xfrm>
          <a:solidFill>
            <a:schemeClr val="accent1"/>
          </a:solidFill>
        </p:grpSpPr>
        <p:sp>
          <p:nvSpPr>
            <p:cNvPr id="31" name="Oval 30">
              <a:extLst>
                <a:ext uri="{FF2B5EF4-FFF2-40B4-BE49-F238E27FC236}">
                  <a16:creationId xmlns:a16="http://schemas.microsoft.com/office/drawing/2014/main" id="{CEB66426-A547-2A15-7E9B-C1B461C363E7}"/>
                </a:ext>
              </a:extLst>
            </p:cNvPr>
            <p:cNvSpPr/>
            <p:nvPr/>
          </p:nvSpPr>
          <p:spPr>
            <a:xfrm>
              <a:off x="5494888" y="64885"/>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32" name="Graphic 31" descr="Presentation with bar chart outline">
              <a:extLst>
                <a:ext uri="{FF2B5EF4-FFF2-40B4-BE49-F238E27FC236}">
                  <a16:creationId xmlns:a16="http://schemas.microsoft.com/office/drawing/2014/main" id="{50AC1373-2A5A-4482-AE41-5754DA1CA0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25832" y="95829"/>
              <a:ext cx="303872" cy="303872"/>
            </a:xfrm>
            <a:prstGeom prst="rect">
              <a:avLst/>
            </a:prstGeom>
          </p:spPr>
        </p:pic>
      </p:grpSp>
      <p:grpSp>
        <p:nvGrpSpPr>
          <p:cNvPr id="33" name="Group 32">
            <a:extLst>
              <a:ext uri="{FF2B5EF4-FFF2-40B4-BE49-F238E27FC236}">
                <a16:creationId xmlns:a16="http://schemas.microsoft.com/office/drawing/2014/main" id="{794DDA1C-6007-F450-26CC-6F2EF696CD9F}"/>
              </a:ext>
            </a:extLst>
          </p:cNvPr>
          <p:cNvGrpSpPr/>
          <p:nvPr/>
        </p:nvGrpSpPr>
        <p:grpSpPr>
          <a:xfrm>
            <a:off x="420626" y="2790196"/>
            <a:ext cx="320040" cy="320040"/>
            <a:chOff x="6169606" y="79093"/>
            <a:chExt cx="365760" cy="365760"/>
          </a:xfrm>
          <a:solidFill>
            <a:schemeClr val="accent1"/>
          </a:solidFill>
        </p:grpSpPr>
        <p:sp>
          <p:nvSpPr>
            <p:cNvPr id="34" name="Oval 33">
              <a:extLst>
                <a:ext uri="{FF2B5EF4-FFF2-40B4-BE49-F238E27FC236}">
                  <a16:creationId xmlns:a16="http://schemas.microsoft.com/office/drawing/2014/main" id="{91C45E7B-7E6C-031D-794F-802B908872C0}"/>
                </a:ext>
              </a:extLst>
            </p:cNvPr>
            <p:cNvSpPr/>
            <p:nvPr/>
          </p:nvSpPr>
          <p:spPr>
            <a:xfrm>
              <a:off x="6169606" y="79093"/>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35" name="Graphic 34" descr="Research outline">
              <a:extLst>
                <a:ext uri="{FF2B5EF4-FFF2-40B4-BE49-F238E27FC236}">
                  <a16:creationId xmlns:a16="http://schemas.microsoft.com/office/drawing/2014/main" id="{C5FF5159-6921-8CDD-1E34-5E343B8973C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20005" y="129492"/>
              <a:ext cx="264962" cy="264962"/>
            </a:xfrm>
            <a:prstGeom prst="rect">
              <a:avLst/>
            </a:prstGeom>
          </p:spPr>
        </p:pic>
      </p:grpSp>
      <p:grpSp>
        <p:nvGrpSpPr>
          <p:cNvPr id="80" name="Group 79">
            <a:extLst>
              <a:ext uri="{FF2B5EF4-FFF2-40B4-BE49-F238E27FC236}">
                <a16:creationId xmlns:a16="http://schemas.microsoft.com/office/drawing/2014/main" id="{9450BCDB-CFF0-6062-34C6-9A3CFACAAFE6}"/>
              </a:ext>
            </a:extLst>
          </p:cNvPr>
          <p:cNvGrpSpPr/>
          <p:nvPr/>
        </p:nvGrpSpPr>
        <p:grpSpPr>
          <a:xfrm>
            <a:off x="166977" y="170708"/>
            <a:ext cx="2041864" cy="1621781"/>
            <a:chOff x="2562526" y="1943759"/>
            <a:chExt cx="2041864" cy="1621781"/>
          </a:xfrm>
        </p:grpSpPr>
        <p:sp>
          <p:nvSpPr>
            <p:cNvPr id="81" name="TextBox 80">
              <a:extLst>
                <a:ext uri="{FF2B5EF4-FFF2-40B4-BE49-F238E27FC236}">
                  <a16:creationId xmlns:a16="http://schemas.microsoft.com/office/drawing/2014/main" id="{BA535FD8-8B93-C046-6A18-23859295497A}"/>
                </a:ext>
              </a:extLst>
            </p:cNvPr>
            <p:cNvSpPr txBox="1"/>
            <p:nvPr/>
          </p:nvSpPr>
          <p:spPr>
            <a:xfrm>
              <a:off x="2562526" y="3196208"/>
              <a:ext cx="2041864" cy="369332"/>
            </a:xfrm>
            <a:prstGeom prst="rect">
              <a:avLst/>
            </a:prstGeom>
            <a:noFill/>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Data</a:t>
              </a:r>
              <a:r>
                <a:rPr lang="en-US">
                  <a:latin typeface="Open Sans" panose="020B0606030504020204" pitchFamily="34" charset="0"/>
                  <a:ea typeface="Open Sans" panose="020B0606030504020204" pitchFamily="34" charset="0"/>
                  <a:cs typeface="Open Sans" panose="020B0606030504020204" pitchFamily="34" charset="0"/>
                </a:rPr>
                <a:t> </a:t>
              </a:r>
              <a:r>
                <a:rPr lang="en-US" b="1">
                  <a:latin typeface="Open Sans" panose="020B0606030504020204" pitchFamily="34" charset="0"/>
                  <a:ea typeface="Open Sans" panose="020B0606030504020204" pitchFamily="34" charset="0"/>
                  <a:cs typeface="Open Sans" panose="020B0606030504020204" pitchFamily="34" charset="0"/>
                </a:rPr>
                <a:t>Quality</a:t>
              </a:r>
            </a:p>
          </p:txBody>
        </p:sp>
        <p:grpSp>
          <p:nvGrpSpPr>
            <p:cNvPr id="83" name="Graphic 4">
              <a:extLst>
                <a:ext uri="{FF2B5EF4-FFF2-40B4-BE49-F238E27FC236}">
                  <a16:creationId xmlns:a16="http://schemas.microsoft.com/office/drawing/2014/main" id="{FEFB1BAC-7574-B9D6-8695-398407C34C1D}"/>
                </a:ext>
              </a:extLst>
            </p:cNvPr>
            <p:cNvGrpSpPr>
              <a:grpSpLocks noChangeAspect="1"/>
            </p:cNvGrpSpPr>
            <p:nvPr/>
          </p:nvGrpSpPr>
          <p:grpSpPr>
            <a:xfrm>
              <a:off x="3121823" y="1943759"/>
              <a:ext cx="923268" cy="922414"/>
              <a:chOff x="905454" y="4308712"/>
              <a:chExt cx="362309" cy="361971"/>
            </a:xfrm>
            <a:solidFill>
              <a:schemeClr val="accent1"/>
            </a:solidFill>
          </p:grpSpPr>
          <p:sp>
            <p:nvSpPr>
              <p:cNvPr id="84" name="Graphic 4">
                <a:extLst>
                  <a:ext uri="{FF2B5EF4-FFF2-40B4-BE49-F238E27FC236}">
                    <a16:creationId xmlns:a16="http://schemas.microsoft.com/office/drawing/2014/main" id="{8B421006-8583-A498-F7CB-BC4290361EBF}"/>
                  </a:ext>
                </a:extLst>
              </p:cNvPr>
              <p:cNvSpPr/>
              <p:nvPr/>
            </p:nvSpPr>
            <p:spPr>
              <a:xfrm>
                <a:off x="983411" y="4499593"/>
                <a:ext cx="20447" cy="70223"/>
              </a:xfrm>
              <a:custGeom>
                <a:avLst/>
                <a:gdLst>
                  <a:gd name="connsiteX0" fmla="*/ 0 w 20447"/>
                  <a:gd name="connsiteY0" fmla="*/ 0 h 70223"/>
                  <a:gd name="connsiteX1" fmla="*/ 20448 w 20447"/>
                  <a:gd name="connsiteY1" fmla="*/ 0 h 70223"/>
                  <a:gd name="connsiteX2" fmla="*/ 20448 w 20447"/>
                  <a:gd name="connsiteY2" fmla="*/ 70224 h 70223"/>
                  <a:gd name="connsiteX3" fmla="*/ 0 w 20447"/>
                  <a:gd name="connsiteY3" fmla="*/ 70224 h 70223"/>
                </a:gdLst>
                <a:ahLst/>
                <a:cxnLst>
                  <a:cxn ang="0">
                    <a:pos x="connsiteX0" y="connsiteY0"/>
                  </a:cxn>
                  <a:cxn ang="0">
                    <a:pos x="connsiteX1" y="connsiteY1"/>
                  </a:cxn>
                  <a:cxn ang="0">
                    <a:pos x="connsiteX2" y="connsiteY2"/>
                  </a:cxn>
                  <a:cxn ang="0">
                    <a:pos x="connsiteX3" y="connsiteY3"/>
                  </a:cxn>
                </a:cxnLst>
                <a:rect l="l" t="t" r="r" b="b"/>
                <a:pathLst>
                  <a:path w="20447" h="70223">
                    <a:moveTo>
                      <a:pt x="0" y="0"/>
                    </a:moveTo>
                    <a:lnTo>
                      <a:pt x="20448" y="0"/>
                    </a:lnTo>
                    <a:lnTo>
                      <a:pt x="20448" y="70224"/>
                    </a:lnTo>
                    <a:lnTo>
                      <a:pt x="0" y="70224"/>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5" name="Graphic 4">
                <a:extLst>
                  <a:ext uri="{FF2B5EF4-FFF2-40B4-BE49-F238E27FC236}">
                    <a16:creationId xmlns:a16="http://schemas.microsoft.com/office/drawing/2014/main" id="{5F94993B-4F84-7285-3038-6C2714675AD9}"/>
                  </a:ext>
                </a:extLst>
              </p:cNvPr>
              <p:cNvSpPr/>
              <p:nvPr/>
            </p:nvSpPr>
            <p:spPr>
              <a:xfrm>
                <a:off x="1016638" y="4466396"/>
                <a:ext cx="45368" cy="20428"/>
              </a:xfrm>
              <a:custGeom>
                <a:avLst/>
                <a:gdLst>
                  <a:gd name="connsiteX0" fmla="*/ 0 w 45368"/>
                  <a:gd name="connsiteY0" fmla="*/ 0 h 20428"/>
                  <a:gd name="connsiteX1" fmla="*/ 45369 w 45368"/>
                  <a:gd name="connsiteY1" fmla="*/ 0 h 20428"/>
                  <a:gd name="connsiteX2" fmla="*/ 45369 w 45368"/>
                  <a:gd name="connsiteY2" fmla="*/ 20429 h 20428"/>
                  <a:gd name="connsiteX3" fmla="*/ 0 w 45368"/>
                  <a:gd name="connsiteY3" fmla="*/ 20429 h 20428"/>
                </a:gdLst>
                <a:ahLst/>
                <a:cxnLst>
                  <a:cxn ang="0">
                    <a:pos x="connsiteX0" y="connsiteY0"/>
                  </a:cxn>
                  <a:cxn ang="0">
                    <a:pos x="connsiteX1" y="connsiteY1"/>
                  </a:cxn>
                  <a:cxn ang="0">
                    <a:pos x="connsiteX2" y="connsiteY2"/>
                  </a:cxn>
                  <a:cxn ang="0">
                    <a:pos x="connsiteX3" y="connsiteY3"/>
                  </a:cxn>
                </a:cxnLst>
                <a:rect l="l" t="t" r="r" b="b"/>
                <a:pathLst>
                  <a:path w="45368" h="20428">
                    <a:moveTo>
                      <a:pt x="0" y="0"/>
                    </a:moveTo>
                    <a:lnTo>
                      <a:pt x="45369" y="0"/>
                    </a:lnTo>
                    <a:lnTo>
                      <a:pt x="45369" y="20429"/>
                    </a:lnTo>
                    <a:lnTo>
                      <a:pt x="0" y="20429"/>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6" name="Graphic 4">
                <a:extLst>
                  <a:ext uri="{FF2B5EF4-FFF2-40B4-BE49-F238E27FC236}">
                    <a16:creationId xmlns:a16="http://schemas.microsoft.com/office/drawing/2014/main" id="{A7A1DE9A-6F9C-A28C-18F9-66A79A52762E}"/>
                  </a:ext>
                </a:extLst>
              </p:cNvPr>
              <p:cNvSpPr/>
              <p:nvPr/>
            </p:nvSpPr>
            <p:spPr>
              <a:xfrm>
                <a:off x="1016638" y="4499593"/>
                <a:ext cx="45368" cy="70223"/>
              </a:xfrm>
              <a:custGeom>
                <a:avLst/>
                <a:gdLst>
                  <a:gd name="connsiteX0" fmla="*/ 0 w 45368"/>
                  <a:gd name="connsiteY0" fmla="*/ 0 h 70223"/>
                  <a:gd name="connsiteX1" fmla="*/ 45369 w 45368"/>
                  <a:gd name="connsiteY1" fmla="*/ 0 h 70223"/>
                  <a:gd name="connsiteX2" fmla="*/ 45369 w 45368"/>
                  <a:gd name="connsiteY2" fmla="*/ 70224 h 70223"/>
                  <a:gd name="connsiteX3" fmla="*/ 0 w 45368"/>
                  <a:gd name="connsiteY3" fmla="*/ 70224 h 70223"/>
                </a:gdLst>
                <a:ahLst/>
                <a:cxnLst>
                  <a:cxn ang="0">
                    <a:pos x="connsiteX0" y="connsiteY0"/>
                  </a:cxn>
                  <a:cxn ang="0">
                    <a:pos x="connsiteX1" y="connsiteY1"/>
                  </a:cxn>
                  <a:cxn ang="0">
                    <a:pos x="connsiteX2" y="connsiteY2"/>
                  </a:cxn>
                  <a:cxn ang="0">
                    <a:pos x="connsiteX3" y="connsiteY3"/>
                  </a:cxn>
                </a:cxnLst>
                <a:rect l="l" t="t" r="r" b="b"/>
                <a:pathLst>
                  <a:path w="45368" h="70223">
                    <a:moveTo>
                      <a:pt x="0" y="0"/>
                    </a:moveTo>
                    <a:lnTo>
                      <a:pt x="45369" y="0"/>
                    </a:lnTo>
                    <a:lnTo>
                      <a:pt x="45369" y="70224"/>
                    </a:lnTo>
                    <a:lnTo>
                      <a:pt x="0" y="70224"/>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7" name="Graphic 4">
                <a:extLst>
                  <a:ext uri="{FF2B5EF4-FFF2-40B4-BE49-F238E27FC236}">
                    <a16:creationId xmlns:a16="http://schemas.microsoft.com/office/drawing/2014/main" id="{D9D25788-7DE9-EA81-6C89-401752B3064D}"/>
                  </a:ext>
                </a:extLst>
              </p:cNvPr>
              <p:cNvSpPr/>
              <p:nvPr/>
            </p:nvSpPr>
            <p:spPr>
              <a:xfrm>
                <a:off x="1074148" y="4499593"/>
                <a:ext cx="20447" cy="70223"/>
              </a:xfrm>
              <a:custGeom>
                <a:avLst/>
                <a:gdLst>
                  <a:gd name="connsiteX0" fmla="*/ 0 w 20447"/>
                  <a:gd name="connsiteY0" fmla="*/ 0 h 70223"/>
                  <a:gd name="connsiteX1" fmla="*/ 20448 w 20447"/>
                  <a:gd name="connsiteY1" fmla="*/ 0 h 70223"/>
                  <a:gd name="connsiteX2" fmla="*/ 20448 w 20447"/>
                  <a:gd name="connsiteY2" fmla="*/ 70224 h 70223"/>
                  <a:gd name="connsiteX3" fmla="*/ 0 w 20447"/>
                  <a:gd name="connsiteY3" fmla="*/ 70224 h 70223"/>
                </a:gdLst>
                <a:ahLst/>
                <a:cxnLst>
                  <a:cxn ang="0">
                    <a:pos x="connsiteX0" y="connsiteY0"/>
                  </a:cxn>
                  <a:cxn ang="0">
                    <a:pos x="connsiteX1" y="connsiteY1"/>
                  </a:cxn>
                  <a:cxn ang="0">
                    <a:pos x="connsiteX2" y="connsiteY2"/>
                  </a:cxn>
                  <a:cxn ang="0">
                    <a:pos x="connsiteX3" y="connsiteY3"/>
                  </a:cxn>
                </a:cxnLst>
                <a:rect l="l" t="t" r="r" b="b"/>
                <a:pathLst>
                  <a:path w="20447" h="70223">
                    <a:moveTo>
                      <a:pt x="0" y="0"/>
                    </a:moveTo>
                    <a:lnTo>
                      <a:pt x="20448" y="0"/>
                    </a:lnTo>
                    <a:lnTo>
                      <a:pt x="20448" y="70224"/>
                    </a:lnTo>
                    <a:lnTo>
                      <a:pt x="0" y="70224"/>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8" name="Graphic 4">
                <a:extLst>
                  <a:ext uri="{FF2B5EF4-FFF2-40B4-BE49-F238E27FC236}">
                    <a16:creationId xmlns:a16="http://schemas.microsoft.com/office/drawing/2014/main" id="{595016B6-63D0-3EFC-0A7B-0962782879E6}"/>
                  </a:ext>
                </a:extLst>
              </p:cNvPr>
              <p:cNvSpPr/>
              <p:nvPr/>
            </p:nvSpPr>
            <p:spPr>
              <a:xfrm>
                <a:off x="1104820" y="4396811"/>
                <a:ext cx="65177" cy="65116"/>
              </a:xfrm>
              <a:custGeom>
                <a:avLst/>
                <a:gdLst>
                  <a:gd name="connsiteX0" fmla="*/ 55593 w 65177"/>
                  <a:gd name="connsiteY0" fmla="*/ 9576 h 65116"/>
                  <a:gd name="connsiteX1" fmla="*/ 9585 w 65177"/>
                  <a:gd name="connsiteY1" fmla="*/ 9576 h 65116"/>
                  <a:gd name="connsiteX2" fmla="*/ 9585 w 65177"/>
                  <a:gd name="connsiteY2" fmla="*/ 55541 h 65116"/>
                  <a:gd name="connsiteX3" fmla="*/ 55593 w 65177"/>
                  <a:gd name="connsiteY3" fmla="*/ 55541 h 65116"/>
                  <a:gd name="connsiteX4" fmla="*/ 55593 w 65177"/>
                  <a:gd name="connsiteY4" fmla="*/ 55541 h 65116"/>
                  <a:gd name="connsiteX5" fmla="*/ 55593 w 65177"/>
                  <a:gd name="connsiteY5" fmla="*/ 9576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177" h="65116">
                    <a:moveTo>
                      <a:pt x="55593" y="9576"/>
                    </a:moveTo>
                    <a:cubicBezTo>
                      <a:pt x="42813" y="-3192"/>
                      <a:pt x="22365" y="-3192"/>
                      <a:pt x="9585" y="9576"/>
                    </a:cubicBezTo>
                    <a:cubicBezTo>
                      <a:pt x="-3195" y="22344"/>
                      <a:pt x="-3195" y="42773"/>
                      <a:pt x="9585" y="55541"/>
                    </a:cubicBezTo>
                    <a:cubicBezTo>
                      <a:pt x="22365" y="68309"/>
                      <a:pt x="42813" y="68309"/>
                      <a:pt x="55593" y="55541"/>
                    </a:cubicBezTo>
                    <a:cubicBezTo>
                      <a:pt x="55593" y="55541"/>
                      <a:pt x="55593" y="55541"/>
                      <a:pt x="55593" y="55541"/>
                    </a:cubicBezTo>
                    <a:cubicBezTo>
                      <a:pt x="68372" y="42773"/>
                      <a:pt x="68372" y="22344"/>
                      <a:pt x="55593" y="9576"/>
                    </a:cubicBez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9" name="Graphic 4">
                <a:extLst>
                  <a:ext uri="{FF2B5EF4-FFF2-40B4-BE49-F238E27FC236}">
                    <a16:creationId xmlns:a16="http://schemas.microsoft.com/office/drawing/2014/main" id="{FF4D0529-9386-5467-7014-596781C0664E}"/>
                  </a:ext>
                </a:extLst>
              </p:cNvPr>
              <p:cNvSpPr/>
              <p:nvPr/>
            </p:nvSpPr>
            <p:spPr>
              <a:xfrm>
                <a:off x="905454" y="4308712"/>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01922 w 362309"/>
                  <a:gd name="connsiteY6" fmla="*/ 266850 h 361971"/>
                  <a:gd name="connsiteX7" fmla="*/ 195532 w 362309"/>
                  <a:gd name="connsiteY7" fmla="*/ 273234 h 361971"/>
                  <a:gd name="connsiteX8" fmla="*/ 71567 w 362309"/>
                  <a:gd name="connsiteY8" fmla="*/ 273234 h 361971"/>
                  <a:gd name="connsiteX9" fmla="*/ 65177 w 362309"/>
                  <a:gd name="connsiteY9" fmla="*/ 266850 h 361971"/>
                  <a:gd name="connsiteX10" fmla="*/ 65177 w 362309"/>
                  <a:gd name="connsiteY10" fmla="*/ 183859 h 361971"/>
                  <a:gd name="connsiteX11" fmla="*/ 71567 w 362309"/>
                  <a:gd name="connsiteY11" fmla="*/ 177475 h 361971"/>
                  <a:gd name="connsiteX12" fmla="*/ 98405 w 362309"/>
                  <a:gd name="connsiteY12" fmla="*/ 177475 h 361971"/>
                  <a:gd name="connsiteX13" fmla="*/ 98405 w 362309"/>
                  <a:gd name="connsiteY13" fmla="*/ 151300 h 361971"/>
                  <a:gd name="connsiteX14" fmla="*/ 104795 w 362309"/>
                  <a:gd name="connsiteY14" fmla="*/ 144916 h 361971"/>
                  <a:gd name="connsiteX15" fmla="*/ 162943 w 362309"/>
                  <a:gd name="connsiteY15" fmla="*/ 144916 h 361971"/>
                  <a:gd name="connsiteX16" fmla="*/ 169333 w 362309"/>
                  <a:gd name="connsiteY16" fmla="*/ 151300 h 361971"/>
                  <a:gd name="connsiteX17" fmla="*/ 169333 w 362309"/>
                  <a:gd name="connsiteY17" fmla="*/ 178113 h 361971"/>
                  <a:gd name="connsiteX18" fmla="*/ 196171 w 362309"/>
                  <a:gd name="connsiteY18" fmla="*/ 178113 h 361971"/>
                  <a:gd name="connsiteX19" fmla="*/ 202561 w 362309"/>
                  <a:gd name="connsiteY19" fmla="*/ 184497 h 361971"/>
                  <a:gd name="connsiteX20" fmla="*/ 201922 w 362309"/>
                  <a:gd name="connsiteY20" fmla="*/ 266850 h 361971"/>
                  <a:gd name="connsiteX21" fmla="*/ 307356 w 362309"/>
                  <a:gd name="connsiteY21" fmla="*/ 197265 h 361971"/>
                  <a:gd name="connsiteX22" fmla="*/ 302883 w 362309"/>
                  <a:gd name="connsiteY22" fmla="*/ 199180 h 361971"/>
                  <a:gd name="connsiteX23" fmla="*/ 298410 w 362309"/>
                  <a:gd name="connsiteY23" fmla="*/ 197265 h 361971"/>
                  <a:gd name="connsiteX24" fmla="*/ 258154 w 362309"/>
                  <a:gd name="connsiteY24" fmla="*/ 157046 h 361971"/>
                  <a:gd name="connsiteX25" fmla="*/ 194254 w 362309"/>
                  <a:gd name="connsiteY25" fmla="*/ 148108 h 361971"/>
                  <a:gd name="connsiteX26" fmla="*/ 203200 w 362309"/>
                  <a:gd name="connsiteY26" fmla="*/ 84269 h 361971"/>
                  <a:gd name="connsiteX27" fmla="*/ 267099 w 362309"/>
                  <a:gd name="connsiteY27" fmla="*/ 93206 h 361971"/>
                  <a:gd name="connsiteX28" fmla="*/ 267099 w 362309"/>
                  <a:gd name="connsiteY28" fmla="*/ 147470 h 361971"/>
                  <a:gd name="connsiteX29" fmla="*/ 307356 w 362309"/>
                  <a:gd name="connsiteY29" fmla="*/ 187051 h 361971"/>
                  <a:gd name="connsiteX30" fmla="*/ 307356 w 362309"/>
                  <a:gd name="connsiteY30" fmla="*/ 197265 h 361971"/>
                  <a:gd name="connsiteX31" fmla="*/ 307356 w 362309"/>
                  <a:gd name="connsiteY31" fmla="*/ 197265 h 361971"/>
                  <a:gd name="connsiteX32" fmla="*/ 307356 w 362309"/>
                  <a:gd name="connsiteY32" fmla="*/ 1972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lose/>
                    <a:moveTo>
                      <a:pt x="201922" y="266850"/>
                    </a:moveTo>
                    <a:cubicBezTo>
                      <a:pt x="201922" y="270681"/>
                      <a:pt x="199366" y="273234"/>
                      <a:pt x="195532" y="273234"/>
                    </a:cubicBezTo>
                    <a:lnTo>
                      <a:pt x="71567" y="273234"/>
                    </a:lnTo>
                    <a:cubicBezTo>
                      <a:pt x="67733" y="273234"/>
                      <a:pt x="65177" y="270681"/>
                      <a:pt x="65177" y="266850"/>
                    </a:cubicBezTo>
                    <a:lnTo>
                      <a:pt x="65177" y="183859"/>
                    </a:lnTo>
                    <a:cubicBezTo>
                      <a:pt x="65177" y="180028"/>
                      <a:pt x="67733" y="177475"/>
                      <a:pt x="71567" y="177475"/>
                    </a:cubicBezTo>
                    <a:lnTo>
                      <a:pt x="98405" y="177475"/>
                    </a:lnTo>
                    <a:lnTo>
                      <a:pt x="98405" y="151300"/>
                    </a:lnTo>
                    <a:cubicBezTo>
                      <a:pt x="98405" y="147470"/>
                      <a:pt x="100961" y="144916"/>
                      <a:pt x="104795" y="144916"/>
                    </a:cubicBezTo>
                    <a:lnTo>
                      <a:pt x="162943" y="144916"/>
                    </a:lnTo>
                    <a:cubicBezTo>
                      <a:pt x="166777" y="144916"/>
                      <a:pt x="169333" y="147470"/>
                      <a:pt x="169333" y="151300"/>
                    </a:cubicBezTo>
                    <a:lnTo>
                      <a:pt x="169333" y="178113"/>
                    </a:lnTo>
                    <a:lnTo>
                      <a:pt x="196171" y="178113"/>
                    </a:lnTo>
                    <a:cubicBezTo>
                      <a:pt x="200005" y="178113"/>
                      <a:pt x="202561" y="180667"/>
                      <a:pt x="202561" y="184497"/>
                    </a:cubicBezTo>
                    <a:lnTo>
                      <a:pt x="201922" y="266850"/>
                    </a:lnTo>
                    <a:close/>
                    <a:moveTo>
                      <a:pt x="307356" y="197265"/>
                    </a:moveTo>
                    <a:cubicBezTo>
                      <a:pt x="306078" y="198542"/>
                      <a:pt x="304800" y="199180"/>
                      <a:pt x="302883" y="199180"/>
                    </a:cubicBezTo>
                    <a:cubicBezTo>
                      <a:pt x="300966" y="199180"/>
                      <a:pt x="299688" y="198542"/>
                      <a:pt x="298410" y="197265"/>
                    </a:cubicBezTo>
                    <a:lnTo>
                      <a:pt x="258154" y="157046"/>
                    </a:lnTo>
                    <a:cubicBezTo>
                      <a:pt x="238345" y="172368"/>
                      <a:pt x="209590" y="167899"/>
                      <a:pt x="194254" y="148108"/>
                    </a:cubicBezTo>
                    <a:cubicBezTo>
                      <a:pt x="178918" y="128318"/>
                      <a:pt x="183391" y="99590"/>
                      <a:pt x="203200" y="84269"/>
                    </a:cubicBezTo>
                    <a:cubicBezTo>
                      <a:pt x="223009" y="68947"/>
                      <a:pt x="251764" y="73416"/>
                      <a:pt x="267099" y="93206"/>
                    </a:cubicBezTo>
                    <a:cubicBezTo>
                      <a:pt x="279240" y="109166"/>
                      <a:pt x="279240" y="131510"/>
                      <a:pt x="267099" y="147470"/>
                    </a:cubicBezTo>
                    <a:lnTo>
                      <a:pt x="307356" y="187051"/>
                    </a:lnTo>
                    <a:cubicBezTo>
                      <a:pt x="309912" y="190243"/>
                      <a:pt x="310551" y="194711"/>
                      <a:pt x="307356" y="197265"/>
                    </a:cubicBezTo>
                    <a:cubicBezTo>
                      <a:pt x="307995" y="197265"/>
                      <a:pt x="307995" y="197265"/>
                      <a:pt x="307356" y="197265"/>
                    </a:cubicBezTo>
                    <a:lnTo>
                      <a:pt x="307356" y="197265"/>
                    </a:lnTo>
                    <a:close/>
                  </a:path>
                </a:pathLst>
              </a:custGeom>
              <a:solidFill>
                <a:schemeClr val="accent6">
                  <a:lumMod val="100000"/>
                </a:schemeClr>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90" name="Rectangle 89">
            <a:extLst>
              <a:ext uri="{FF2B5EF4-FFF2-40B4-BE49-F238E27FC236}">
                <a16:creationId xmlns:a16="http://schemas.microsoft.com/office/drawing/2014/main" id="{B3FDD88A-3B41-D032-1C5A-9998B2ED4E05}"/>
              </a:ext>
            </a:extLst>
          </p:cNvPr>
          <p:cNvSpPr/>
          <p:nvPr/>
        </p:nvSpPr>
        <p:spPr bwMode="gray">
          <a:xfrm>
            <a:off x="166977" y="6249725"/>
            <a:ext cx="1447138" cy="6082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pic>
        <p:nvPicPr>
          <p:cNvPr id="91" name="Picture 90" descr="image.png">
            <a:extLst>
              <a:ext uri="{FF2B5EF4-FFF2-40B4-BE49-F238E27FC236}">
                <a16:creationId xmlns:a16="http://schemas.microsoft.com/office/drawing/2014/main" id="{D48C08EA-E854-85DB-25E1-CBF4C34F6344}"/>
              </a:ext>
            </a:extLst>
          </p:cNvPr>
          <p:cNvPicPr>
            <a:picLocks noChangeAspect="1"/>
          </p:cNvPicPr>
          <p:nvPr/>
        </p:nvPicPr>
        <p:blipFill>
          <a:blip r:embed="rId12"/>
          <a:stretch>
            <a:fillRect/>
          </a:stretch>
        </p:blipFill>
        <p:spPr>
          <a:xfrm flipH="1">
            <a:off x="7072390" y="2906666"/>
            <a:ext cx="5119610" cy="3981559"/>
          </a:xfrm>
          <a:prstGeom prst="rect">
            <a:avLst/>
          </a:prstGeom>
        </p:spPr>
      </p:pic>
    </p:spTree>
    <p:extLst>
      <p:ext uri="{BB962C8B-B14F-4D97-AF65-F5344CB8AC3E}">
        <p14:creationId xmlns:p14="http://schemas.microsoft.com/office/powerpoint/2010/main" val="297456707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F7CFD6C-B4C1-E3ED-ED8E-EF57E79BEF7B}"/>
              </a:ext>
            </a:extLst>
          </p:cNvPr>
          <p:cNvSpPr txBox="1"/>
          <p:nvPr/>
        </p:nvSpPr>
        <p:spPr>
          <a:xfrm>
            <a:off x="2266993" y="470909"/>
            <a:ext cx="8856881" cy="923330"/>
          </a:xfrm>
          <a:prstGeom prst="rect">
            <a:avLst/>
          </a:prstGeom>
          <a:noFill/>
        </p:spPr>
        <p:txBody>
          <a:bodyPr wrap="square">
            <a:spAutoFit/>
          </a:bodyPr>
          <a:lstStyle/>
          <a:p>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Master Data Management (MDM) is the comprehensive process of managing an organization's critical data to ensure consistency, accuracy, and accountability across the enterprise and creating a single source of truth.</a:t>
            </a:r>
          </a:p>
        </p:txBody>
      </p:sp>
      <p:sp>
        <p:nvSpPr>
          <p:cNvPr id="4" name="object 22">
            <a:extLst>
              <a:ext uri="{FF2B5EF4-FFF2-40B4-BE49-F238E27FC236}">
                <a16:creationId xmlns:a16="http://schemas.microsoft.com/office/drawing/2014/main" id="{BC6D41DA-3D2E-4265-A184-CD3C1837B86C}"/>
              </a:ext>
            </a:extLst>
          </p:cNvPr>
          <p:cNvSpPr txBox="1"/>
          <p:nvPr/>
        </p:nvSpPr>
        <p:spPr>
          <a:xfrm>
            <a:off x="310319" y="2545780"/>
            <a:ext cx="6460393" cy="159338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400" b="1" i="1"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Key Master Data Management Capabilities:</a:t>
            </a:r>
          </a:p>
          <a:p>
            <a:pPr marL="558800" marR="0" lvl="0" indent="0" algn="l" defTabSz="914400" rtl="0" eaLnBrk="1" fontAlgn="auto" latinLnBrk="0" hangingPunct="1">
              <a:lnSpc>
                <a:spcPct val="100000"/>
              </a:lnSpc>
              <a:spcBef>
                <a:spcPts val="960"/>
              </a:spcBef>
              <a:spcAft>
                <a:spcPts val="0"/>
              </a:spcAft>
              <a:buClrTx/>
              <a:buSzTx/>
              <a:buFontTx/>
              <a:buNone/>
              <a:tabLst/>
              <a:defRPr/>
            </a:pPr>
            <a:r>
              <a:rPr kumimoji="0" lang="en-US" sz="1200" b="1"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Quality Standardization</a:t>
            </a:r>
            <a:r>
              <a:rPr lang="en-US" sz="12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MDM facilitates the creation of a centralized and consistent definition of attributes, ensuring all data elements adhere to a consistent set of standards and dimensions (parsing, match/merge, </a:t>
            </a:r>
            <a:r>
              <a:rPr lang="en-US" sz="1200" kern="0" dirty="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profling</a:t>
            </a:r>
            <a:r>
              <a:rPr lang="en-US" sz="12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enrichment)</a:t>
            </a:r>
          </a:p>
          <a:p>
            <a:pPr marL="558800" marR="0" lvl="0" indent="0" algn="l" defTabSz="914400" rtl="0" eaLnBrk="1" fontAlgn="auto" latinLnBrk="0" hangingPunct="1">
              <a:lnSpc>
                <a:spcPct val="100000"/>
              </a:lnSpc>
              <a:spcBef>
                <a:spcPts val="960"/>
              </a:spcBef>
              <a:spcAft>
                <a:spcPts val="0"/>
              </a:spcAft>
              <a:buClrTx/>
              <a:buSzTx/>
              <a:buFontTx/>
              <a:buNone/>
              <a:tabLst/>
              <a:defRPr/>
            </a:pPr>
            <a:r>
              <a:rPr kumimoji="0" lang="en-US" sz="1200" b="1"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Master Data Lineage</a:t>
            </a:r>
            <a:r>
              <a:rPr lang="en-US" sz="12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Ability to trace and map the origins, movement, transformations and usages of Master Data</a:t>
            </a:r>
            <a:endParaRPr kumimoji="0" lang="en-US" sz="1200" b="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EF82A8EE-71F0-EB5F-5002-AD9D8281F8F4}"/>
              </a:ext>
            </a:extLst>
          </p:cNvPr>
          <p:cNvGrpSpPr/>
          <p:nvPr/>
        </p:nvGrpSpPr>
        <p:grpSpPr>
          <a:xfrm>
            <a:off x="357015" y="2866584"/>
            <a:ext cx="320040" cy="320040"/>
            <a:chOff x="498528" y="2537329"/>
            <a:chExt cx="320040" cy="320040"/>
          </a:xfrm>
        </p:grpSpPr>
        <p:sp>
          <p:nvSpPr>
            <p:cNvPr id="6" name="Oval 5">
              <a:extLst>
                <a:ext uri="{FF2B5EF4-FFF2-40B4-BE49-F238E27FC236}">
                  <a16:creationId xmlns:a16="http://schemas.microsoft.com/office/drawing/2014/main" id="{04B19C1B-91FE-E195-1938-059B89EC1829}"/>
                </a:ext>
              </a:extLst>
            </p:cNvPr>
            <p:cNvSpPr/>
            <p:nvPr/>
          </p:nvSpPr>
          <p:spPr>
            <a:xfrm>
              <a:off x="498528" y="2537329"/>
              <a:ext cx="320040" cy="32004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7" name="Graphic 6" descr="Folder Search outline">
              <a:extLst>
                <a:ext uri="{FF2B5EF4-FFF2-40B4-BE49-F238E27FC236}">
                  <a16:creationId xmlns:a16="http://schemas.microsoft.com/office/drawing/2014/main" id="{8D4CF049-073E-DA1C-B6D4-9561CD8082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6614" y="2575415"/>
              <a:ext cx="243869" cy="243869"/>
            </a:xfrm>
            <a:prstGeom prst="rect">
              <a:avLst/>
            </a:prstGeom>
          </p:spPr>
        </p:pic>
      </p:grpSp>
      <p:sp>
        <p:nvSpPr>
          <p:cNvPr id="8" name="Oval 7">
            <a:extLst>
              <a:ext uri="{FF2B5EF4-FFF2-40B4-BE49-F238E27FC236}">
                <a16:creationId xmlns:a16="http://schemas.microsoft.com/office/drawing/2014/main" id="{A422BF53-DAD0-998E-CF1F-BE7E0252624A}"/>
              </a:ext>
            </a:extLst>
          </p:cNvPr>
          <p:cNvSpPr/>
          <p:nvPr/>
        </p:nvSpPr>
        <p:spPr>
          <a:xfrm>
            <a:off x="345752" y="4555889"/>
            <a:ext cx="320040" cy="32004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9" name="Graphic 8" descr="Handshake outline">
            <a:extLst>
              <a:ext uri="{FF2B5EF4-FFF2-40B4-BE49-F238E27FC236}">
                <a16:creationId xmlns:a16="http://schemas.microsoft.com/office/drawing/2014/main" id="{B0A22BC3-CD0D-1B02-C55A-F2D63549D4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6778" y="4597931"/>
            <a:ext cx="257989" cy="257989"/>
          </a:xfrm>
          <a:prstGeom prst="rect">
            <a:avLst/>
          </a:prstGeom>
        </p:spPr>
      </p:pic>
      <p:grpSp>
        <p:nvGrpSpPr>
          <p:cNvPr id="10" name="Group 9">
            <a:extLst>
              <a:ext uri="{FF2B5EF4-FFF2-40B4-BE49-F238E27FC236}">
                <a16:creationId xmlns:a16="http://schemas.microsoft.com/office/drawing/2014/main" id="{6E448516-511D-6120-203E-2B813168696E}"/>
              </a:ext>
            </a:extLst>
          </p:cNvPr>
          <p:cNvGrpSpPr/>
          <p:nvPr/>
        </p:nvGrpSpPr>
        <p:grpSpPr>
          <a:xfrm>
            <a:off x="363222" y="5281067"/>
            <a:ext cx="320040" cy="336400"/>
            <a:chOff x="508090" y="4550102"/>
            <a:chExt cx="320040" cy="336400"/>
          </a:xfrm>
        </p:grpSpPr>
        <p:sp>
          <p:nvSpPr>
            <p:cNvPr id="11" name="Oval 10">
              <a:extLst>
                <a:ext uri="{FF2B5EF4-FFF2-40B4-BE49-F238E27FC236}">
                  <a16:creationId xmlns:a16="http://schemas.microsoft.com/office/drawing/2014/main" id="{337E380C-8E57-C128-E447-A0F27F8D7FC7}"/>
                </a:ext>
              </a:extLst>
            </p:cNvPr>
            <p:cNvSpPr/>
            <p:nvPr/>
          </p:nvSpPr>
          <p:spPr>
            <a:xfrm>
              <a:off x="508090" y="4550102"/>
              <a:ext cx="320040" cy="32004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12" name="Graphic 11" descr="Acquisition outline">
              <a:extLst>
                <a:ext uri="{FF2B5EF4-FFF2-40B4-BE49-F238E27FC236}">
                  <a16:creationId xmlns:a16="http://schemas.microsoft.com/office/drawing/2014/main" id="{56DDACAE-6875-D461-505A-D95CFB76D97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8090" y="4577725"/>
              <a:ext cx="308777" cy="308777"/>
            </a:xfrm>
            <a:prstGeom prst="rect">
              <a:avLst/>
            </a:prstGeom>
          </p:spPr>
        </p:pic>
      </p:grpSp>
      <p:grpSp>
        <p:nvGrpSpPr>
          <p:cNvPr id="13" name="Group 12">
            <a:extLst>
              <a:ext uri="{FF2B5EF4-FFF2-40B4-BE49-F238E27FC236}">
                <a16:creationId xmlns:a16="http://schemas.microsoft.com/office/drawing/2014/main" id="{41B5E140-90D2-40D0-FA0D-4BDF937E7F7B}"/>
              </a:ext>
            </a:extLst>
          </p:cNvPr>
          <p:cNvGrpSpPr/>
          <p:nvPr/>
        </p:nvGrpSpPr>
        <p:grpSpPr>
          <a:xfrm>
            <a:off x="360462" y="3687682"/>
            <a:ext cx="320040" cy="320040"/>
            <a:chOff x="501853" y="3175897"/>
            <a:chExt cx="320040" cy="320040"/>
          </a:xfrm>
        </p:grpSpPr>
        <p:sp>
          <p:nvSpPr>
            <p:cNvPr id="14" name="Oval 13">
              <a:extLst>
                <a:ext uri="{FF2B5EF4-FFF2-40B4-BE49-F238E27FC236}">
                  <a16:creationId xmlns:a16="http://schemas.microsoft.com/office/drawing/2014/main" id="{5CE65131-1607-A861-6A38-F653ED5B7D73}"/>
                </a:ext>
              </a:extLst>
            </p:cNvPr>
            <p:cNvSpPr/>
            <p:nvPr/>
          </p:nvSpPr>
          <p:spPr>
            <a:xfrm>
              <a:off x="501853" y="3175897"/>
              <a:ext cx="320040" cy="32004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15" name="Graphic 14" descr="Clipboard Checked outline">
              <a:extLst>
                <a:ext uri="{FF2B5EF4-FFF2-40B4-BE49-F238E27FC236}">
                  <a16:creationId xmlns:a16="http://schemas.microsoft.com/office/drawing/2014/main" id="{42208D84-D53C-7DAF-46A2-685713971C1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323" y="3217367"/>
              <a:ext cx="237100" cy="237100"/>
            </a:xfrm>
            <a:prstGeom prst="rect">
              <a:avLst/>
            </a:prstGeom>
          </p:spPr>
        </p:pic>
      </p:grpSp>
      <p:sp>
        <p:nvSpPr>
          <p:cNvPr id="16" name="object 28">
            <a:extLst>
              <a:ext uri="{FF2B5EF4-FFF2-40B4-BE49-F238E27FC236}">
                <a16:creationId xmlns:a16="http://schemas.microsoft.com/office/drawing/2014/main" id="{4813B1DE-FCFC-91AE-B03E-87CE0AAB6763}"/>
              </a:ext>
            </a:extLst>
          </p:cNvPr>
          <p:cNvSpPr txBox="1"/>
          <p:nvPr/>
        </p:nvSpPr>
        <p:spPr>
          <a:xfrm>
            <a:off x="313744" y="4241591"/>
            <a:ext cx="6460393" cy="17216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400" b="1" i="1"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How AI/GenAI Enhances Master Data Management:</a:t>
            </a:r>
          </a:p>
          <a:p>
            <a:pPr marL="558800">
              <a:spcBef>
                <a:spcPts val="960"/>
              </a:spcBef>
              <a:defRPr/>
            </a:pPr>
            <a:r>
              <a:rPr lang="en-US" sz="1200" b="1"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Automated DQ Operations: </a:t>
            </a:r>
            <a:r>
              <a:rPr lang="en-US" sz="1200"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Built in AI can detect and remove duplicates, augment and enrich hierarchies with third-party data, check for consistency and correct missing data to prevent manual intervention.</a:t>
            </a:r>
          </a:p>
          <a:p>
            <a:pPr marL="558800">
              <a:spcBef>
                <a:spcPts val="960"/>
              </a:spcBef>
              <a:defRPr/>
            </a:pPr>
            <a:r>
              <a:rPr lang="en-US" sz="1200" b="1"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GenAI Powered Data Operations: </a:t>
            </a:r>
            <a:r>
              <a:rPr lang="en-US" sz="1200"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Gen/AI capabilities can help automate data tasks and create semantic drill downs of data for exploration and analytics</a:t>
            </a:r>
          </a:p>
          <a:p>
            <a:pPr marL="558800">
              <a:spcBef>
                <a:spcPts val="960"/>
              </a:spcBef>
              <a:defRPr/>
            </a:pPr>
            <a:endParaRPr kumimoji="0" lang="en-US" sz="1200" i="0"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7" name="Group 16">
            <a:extLst>
              <a:ext uri="{FF2B5EF4-FFF2-40B4-BE49-F238E27FC236}">
                <a16:creationId xmlns:a16="http://schemas.microsoft.com/office/drawing/2014/main" id="{FE1807C8-3D1E-7924-B243-CB0EB2192A0F}"/>
              </a:ext>
            </a:extLst>
          </p:cNvPr>
          <p:cNvGrpSpPr/>
          <p:nvPr/>
        </p:nvGrpSpPr>
        <p:grpSpPr>
          <a:xfrm>
            <a:off x="166977" y="150015"/>
            <a:ext cx="2041864" cy="1764028"/>
            <a:chOff x="10062336" y="1943759"/>
            <a:chExt cx="2041864" cy="1764028"/>
          </a:xfrm>
        </p:grpSpPr>
        <p:sp>
          <p:nvSpPr>
            <p:cNvPr id="18" name="TextBox 17">
              <a:extLst>
                <a:ext uri="{FF2B5EF4-FFF2-40B4-BE49-F238E27FC236}">
                  <a16:creationId xmlns:a16="http://schemas.microsoft.com/office/drawing/2014/main" id="{FAE36A50-FF72-2696-A9FB-43DD79D15798}"/>
                </a:ext>
              </a:extLst>
            </p:cNvPr>
            <p:cNvSpPr txBox="1"/>
            <p:nvPr/>
          </p:nvSpPr>
          <p:spPr>
            <a:xfrm>
              <a:off x="10062336" y="3061456"/>
              <a:ext cx="2041864" cy="646331"/>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Master Data Management</a:t>
              </a:r>
            </a:p>
          </p:txBody>
        </p:sp>
        <p:sp>
          <p:nvSpPr>
            <p:cNvPr id="20" name="Oval 19">
              <a:extLst>
                <a:ext uri="{FF2B5EF4-FFF2-40B4-BE49-F238E27FC236}">
                  <a16:creationId xmlns:a16="http://schemas.microsoft.com/office/drawing/2014/main" id="{CF74F282-044F-A651-3915-DFFD5F201717}"/>
                </a:ext>
              </a:extLst>
            </p:cNvPr>
            <p:cNvSpPr/>
            <p:nvPr/>
          </p:nvSpPr>
          <p:spPr>
            <a:xfrm>
              <a:off x="10621629" y="1943759"/>
              <a:ext cx="923268" cy="921059"/>
            </a:xfrm>
            <a:prstGeom prst="ellipse">
              <a:avLst/>
            </a:prstGeom>
            <a:solidFill>
              <a:schemeClr val="accent6">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descr="Merger with solid fill">
              <a:extLst>
                <a:ext uri="{FF2B5EF4-FFF2-40B4-BE49-F238E27FC236}">
                  <a16:creationId xmlns:a16="http://schemas.microsoft.com/office/drawing/2014/main" id="{5CBEEBBD-99D4-655C-9E7D-4E5031D3E3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79782" y="1990022"/>
              <a:ext cx="841657" cy="841657"/>
            </a:xfrm>
            <a:prstGeom prst="rect">
              <a:avLst/>
            </a:prstGeom>
          </p:spPr>
        </p:pic>
      </p:grpSp>
      <p:sp>
        <p:nvSpPr>
          <p:cNvPr id="22" name="Rectangle 21">
            <a:extLst>
              <a:ext uri="{FF2B5EF4-FFF2-40B4-BE49-F238E27FC236}">
                <a16:creationId xmlns:a16="http://schemas.microsoft.com/office/drawing/2014/main" id="{12BE88EE-8E96-4E31-E87A-43A05FD738C6}"/>
              </a:ext>
            </a:extLst>
          </p:cNvPr>
          <p:cNvSpPr/>
          <p:nvPr/>
        </p:nvSpPr>
        <p:spPr bwMode="gray">
          <a:xfrm>
            <a:off x="166977" y="6249725"/>
            <a:ext cx="1447138" cy="6082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pic>
        <p:nvPicPr>
          <p:cNvPr id="23" name="Picture 22" descr="image.png">
            <a:extLst>
              <a:ext uri="{FF2B5EF4-FFF2-40B4-BE49-F238E27FC236}">
                <a16:creationId xmlns:a16="http://schemas.microsoft.com/office/drawing/2014/main" id="{E6530356-D0C8-998A-C3E0-879BA7BD78BD}"/>
              </a:ext>
            </a:extLst>
          </p:cNvPr>
          <p:cNvPicPr>
            <a:picLocks noChangeAspect="1"/>
          </p:cNvPicPr>
          <p:nvPr/>
        </p:nvPicPr>
        <p:blipFill>
          <a:blip r:embed="rId12"/>
          <a:stretch>
            <a:fillRect/>
          </a:stretch>
        </p:blipFill>
        <p:spPr>
          <a:xfrm flipH="1">
            <a:off x="7072390" y="2906666"/>
            <a:ext cx="5119610" cy="3981559"/>
          </a:xfrm>
          <a:prstGeom prst="rect">
            <a:avLst/>
          </a:prstGeom>
        </p:spPr>
      </p:pic>
    </p:spTree>
    <p:extLst>
      <p:ext uri="{BB962C8B-B14F-4D97-AF65-F5344CB8AC3E}">
        <p14:creationId xmlns:p14="http://schemas.microsoft.com/office/powerpoint/2010/main" val="5034774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A6F19-C81F-976B-FE14-6D5354C6F628}"/>
            </a:ext>
          </a:extLst>
        </p:cNvPr>
        <p:cNvGrpSpPr/>
        <p:nvPr/>
      </p:nvGrpSpPr>
      <p:grpSpPr>
        <a:xfrm>
          <a:off x="0" y="0"/>
          <a:ext cx="0" cy="0"/>
          <a:chOff x="0" y="0"/>
          <a:chExt cx="0" cy="0"/>
        </a:xfrm>
      </p:grpSpPr>
      <p:sp>
        <p:nvSpPr>
          <p:cNvPr id="34" name="Rectangle 33">
            <a:extLst>
              <a:ext uri="{FF2B5EF4-FFF2-40B4-BE49-F238E27FC236}">
                <a16:creationId xmlns:a16="http://schemas.microsoft.com/office/drawing/2014/main" id="{A9C30F62-589C-863E-A439-18FEF7C30927}"/>
              </a:ext>
            </a:extLst>
          </p:cNvPr>
          <p:cNvSpPr/>
          <p:nvPr/>
        </p:nvSpPr>
        <p:spPr bwMode="gray">
          <a:xfrm>
            <a:off x="166977" y="6249725"/>
            <a:ext cx="1447138" cy="6082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
        <p:nvSpPr>
          <p:cNvPr id="143" name="Rectangle 142">
            <a:extLst>
              <a:ext uri="{FF2B5EF4-FFF2-40B4-BE49-F238E27FC236}">
                <a16:creationId xmlns:a16="http://schemas.microsoft.com/office/drawing/2014/main" id="{ADDFF5DB-6AE5-1325-F704-776309407E6D}"/>
              </a:ext>
            </a:extLst>
          </p:cNvPr>
          <p:cNvSpPr/>
          <p:nvPr/>
        </p:nvSpPr>
        <p:spPr>
          <a:xfrm>
            <a:off x="2656920" y="1683505"/>
            <a:ext cx="7881478" cy="3044132"/>
          </a:xfrm>
          <a:prstGeom prst="rect">
            <a:avLst/>
          </a:prstGeom>
          <a:noFill/>
          <a:ln w="12700">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2">
            <a:extLst>
              <a:ext uri="{FF2B5EF4-FFF2-40B4-BE49-F238E27FC236}">
                <a16:creationId xmlns:a16="http://schemas.microsoft.com/office/drawing/2014/main" id="{E1BB767B-5E24-592F-82C9-992C1B208B0F}"/>
              </a:ext>
            </a:extLst>
          </p:cNvPr>
          <p:cNvSpPr/>
          <p:nvPr/>
        </p:nvSpPr>
        <p:spPr>
          <a:xfrm>
            <a:off x="2773816" y="1816975"/>
            <a:ext cx="6778671" cy="2775318"/>
          </a:xfrm>
          <a:prstGeom prst="roundRect">
            <a:avLst>
              <a:gd name="adj" fmla="val 8072"/>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147" name="Rounded Rectangle 2">
            <a:extLst>
              <a:ext uri="{FF2B5EF4-FFF2-40B4-BE49-F238E27FC236}">
                <a16:creationId xmlns:a16="http://schemas.microsoft.com/office/drawing/2014/main" id="{7A89EA5E-02F1-142C-BD8A-ED4CC2A64D42}"/>
              </a:ext>
            </a:extLst>
          </p:cNvPr>
          <p:cNvSpPr/>
          <p:nvPr/>
        </p:nvSpPr>
        <p:spPr>
          <a:xfrm>
            <a:off x="2880492" y="1894345"/>
            <a:ext cx="1371969" cy="1919562"/>
          </a:xfrm>
          <a:prstGeom prst="roundRect">
            <a:avLst>
              <a:gd name="adj" fmla="val 8072"/>
            </a:avLst>
          </a:prstGeom>
          <a:noFill/>
          <a:ln w="3175" cap="flat" cmpd="sng" algn="ctr">
            <a:solidFill>
              <a:srgbClr val="000000"/>
            </a:solidFill>
            <a:prstDash val="solid"/>
          </a:ln>
          <a:effectLst/>
        </p:spPr>
        <p:txBody>
          <a:bodyPr rtlCol="0" anchor="t"/>
          <a:lstStyle/>
          <a:p>
            <a:pPr marL="0" marR="0" lvl="0" indent="0" algn="r" defTabSz="914400" rtl="0" eaLnBrk="1" fontAlgn="base" latinLnBrk="0" hangingPunct="1">
              <a:lnSpc>
                <a:spcPct val="100000"/>
              </a:lnSpc>
              <a:spcBef>
                <a:spcPct val="0"/>
              </a:spcBef>
              <a:spcAft>
                <a:spcPct val="0"/>
              </a:spcAft>
              <a:buClrTx/>
              <a:buSzTx/>
              <a:buFont typeface="Arial"/>
              <a:buNone/>
              <a:tabLst/>
              <a:defRPr/>
            </a:pPr>
            <a:r>
              <a:rPr kumimoji="0" lang="en-US" sz="8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Technical Metadata</a:t>
            </a:r>
          </a:p>
        </p:txBody>
      </p:sp>
      <p:sp>
        <p:nvSpPr>
          <p:cNvPr id="156" name="Rectangle 155">
            <a:extLst>
              <a:ext uri="{FF2B5EF4-FFF2-40B4-BE49-F238E27FC236}">
                <a16:creationId xmlns:a16="http://schemas.microsoft.com/office/drawing/2014/main" id="{EA7D069D-E80A-4967-A425-33504F5153DB}"/>
              </a:ext>
            </a:extLst>
          </p:cNvPr>
          <p:cNvSpPr/>
          <p:nvPr/>
        </p:nvSpPr>
        <p:spPr>
          <a:xfrm>
            <a:off x="735958" y="4178709"/>
            <a:ext cx="1557525" cy="212892"/>
          </a:xfrm>
          <a:prstGeom prst="rect">
            <a:avLst/>
          </a:prstGeom>
          <a:noFill/>
          <a:ln w="3175">
            <a:noFill/>
            <a:prstDash val="solid"/>
            <a:miter lim="800000"/>
            <a:headEnd/>
            <a:tailEnd/>
          </a:ln>
          <a:effectLst/>
        </p:spPr>
        <p:txBody>
          <a:bodyPr lIns="0" tIns="91440" rIns="0" bIns="91440" anchor="ctr"/>
          <a:lstStyle/>
          <a:p>
            <a:pPr marL="0" marR="0" lvl="0" indent="-119063" algn="ctr" defTabSz="1219170" rtl="0" eaLnBrk="1" fontAlgn="auto" latinLnBrk="0" hangingPunct="1">
              <a:lnSpc>
                <a:spcPct val="100000"/>
              </a:lnSpc>
              <a:spcBef>
                <a:spcPts val="0"/>
              </a:spcBef>
              <a:spcAft>
                <a:spcPts val="0"/>
              </a:spcAft>
              <a:buClr>
                <a:srgbClr val="FD0000"/>
              </a:buClr>
              <a:buSzPct val="115000"/>
              <a:buFontTx/>
              <a:buNone/>
              <a:tabLst/>
              <a:defRPr/>
            </a:pPr>
            <a:r>
              <a:rPr kumimoji="0" lang="en-US" sz="9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Reporting / Data Analytics </a:t>
            </a:r>
          </a:p>
        </p:txBody>
      </p:sp>
      <p:sp>
        <p:nvSpPr>
          <p:cNvPr id="165" name="Rectangle: Rounded Corners 43">
            <a:extLst>
              <a:ext uri="{FF2B5EF4-FFF2-40B4-BE49-F238E27FC236}">
                <a16:creationId xmlns:a16="http://schemas.microsoft.com/office/drawing/2014/main" id="{527177EC-6D73-D0E5-0DA4-650B0E0804C6}"/>
              </a:ext>
            </a:extLst>
          </p:cNvPr>
          <p:cNvSpPr/>
          <p:nvPr/>
        </p:nvSpPr>
        <p:spPr>
          <a:xfrm>
            <a:off x="1576323" y="1590977"/>
            <a:ext cx="965203" cy="1619368"/>
          </a:xfrm>
          <a:prstGeom prst="roundRect">
            <a:avLst/>
          </a:prstGeom>
          <a:noFill/>
          <a:ln w="317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166" name="Rectangle: Rounded Corners 43">
            <a:extLst>
              <a:ext uri="{FF2B5EF4-FFF2-40B4-BE49-F238E27FC236}">
                <a16:creationId xmlns:a16="http://schemas.microsoft.com/office/drawing/2014/main" id="{898ED999-739E-D4C0-9F4A-70F657F9AEC6}"/>
              </a:ext>
            </a:extLst>
          </p:cNvPr>
          <p:cNvSpPr/>
          <p:nvPr/>
        </p:nvSpPr>
        <p:spPr>
          <a:xfrm>
            <a:off x="2819532" y="5095787"/>
            <a:ext cx="5985851" cy="642658"/>
          </a:xfrm>
          <a:prstGeom prst="roundRect">
            <a:avLst/>
          </a:prstGeom>
          <a:noFill/>
          <a:ln w="317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pic>
        <p:nvPicPr>
          <p:cNvPr id="167" name="Graphic 48" descr="Database">
            <a:extLst>
              <a:ext uri="{FF2B5EF4-FFF2-40B4-BE49-F238E27FC236}">
                <a16:creationId xmlns:a16="http://schemas.microsoft.com/office/drawing/2014/main" id="{AF03FBEE-5F8D-8559-5A40-CF6CEFFE19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62572" y="5217300"/>
            <a:ext cx="347098" cy="347098"/>
          </a:xfrm>
          <a:prstGeom prst="rect">
            <a:avLst/>
          </a:prstGeom>
        </p:spPr>
      </p:pic>
      <p:sp>
        <p:nvSpPr>
          <p:cNvPr id="168" name="Rectangle 167">
            <a:extLst>
              <a:ext uri="{FF2B5EF4-FFF2-40B4-BE49-F238E27FC236}">
                <a16:creationId xmlns:a16="http://schemas.microsoft.com/office/drawing/2014/main" id="{BCC91C07-6AC3-A72E-20BD-BC2E85D6DBE1}"/>
              </a:ext>
            </a:extLst>
          </p:cNvPr>
          <p:cNvSpPr/>
          <p:nvPr/>
        </p:nvSpPr>
        <p:spPr>
          <a:xfrm>
            <a:off x="5253419" y="5540098"/>
            <a:ext cx="1118077"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Metadata Store</a:t>
            </a:r>
          </a:p>
        </p:txBody>
      </p:sp>
      <p:sp>
        <p:nvSpPr>
          <p:cNvPr id="169" name="Rounded Rectangle 9">
            <a:extLst>
              <a:ext uri="{FF2B5EF4-FFF2-40B4-BE49-F238E27FC236}">
                <a16:creationId xmlns:a16="http://schemas.microsoft.com/office/drawing/2014/main" id="{38611F14-0E10-1B2C-55EE-A6AFB2A4CB25}"/>
              </a:ext>
            </a:extLst>
          </p:cNvPr>
          <p:cNvSpPr/>
          <p:nvPr/>
        </p:nvSpPr>
        <p:spPr>
          <a:xfrm>
            <a:off x="3486779" y="5239255"/>
            <a:ext cx="944250" cy="296194"/>
          </a:xfrm>
          <a:prstGeom prst="roundRect">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sets</a:t>
            </a:r>
            <a:endParaRPr kumimoji="0" lang="en-GB"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170" name="Rounded Rectangle 206">
            <a:extLst>
              <a:ext uri="{FF2B5EF4-FFF2-40B4-BE49-F238E27FC236}">
                <a16:creationId xmlns:a16="http://schemas.microsoft.com/office/drawing/2014/main" id="{5D208453-D86A-449F-2AC9-D382B0D4F302}"/>
              </a:ext>
            </a:extLst>
          </p:cNvPr>
          <p:cNvSpPr/>
          <p:nvPr/>
        </p:nvSpPr>
        <p:spPr>
          <a:xfrm>
            <a:off x="4542760" y="5239255"/>
            <a:ext cx="944250" cy="296194"/>
          </a:xfrm>
          <a:prstGeom prst="roundRect">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Physical Data Dictionary</a:t>
            </a:r>
          </a:p>
        </p:txBody>
      </p:sp>
      <p:sp>
        <p:nvSpPr>
          <p:cNvPr id="171" name="Rounded Rectangle 207">
            <a:extLst>
              <a:ext uri="{FF2B5EF4-FFF2-40B4-BE49-F238E27FC236}">
                <a16:creationId xmlns:a16="http://schemas.microsoft.com/office/drawing/2014/main" id="{E49304BC-162C-1899-4B16-E63A1575B3C3}"/>
              </a:ext>
            </a:extLst>
          </p:cNvPr>
          <p:cNvSpPr/>
          <p:nvPr/>
        </p:nvSpPr>
        <p:spPr>
          <a:xfrm>
            <a:off x="5623985" y="5239255"/>
            <a:ext cx="944250" cy="296194"/>
          </a:xfrm>
          <a:prstGeom prst="roundRect">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Business Glossary</a:t>
            </a:r>
          </a:p>
        </p:txBody>
      </p:sp>
      <p:sp>
        <p:nvSpPr>
          <p:cNvPr id="188" name="Rounded Rectangle 277">
            <a:extLst>
              <a:ext uri="{FF2B5EF4-FFF2-40B4-BE49-F238E27FC236}">
                <a16:creationId xmlns:a16="http://schemas.microsoft.com/office/drawing/2014/main" id="{B1B935BA-C556-462D-6174-39C38C329E9A}"/>
              </a:ext>
            </a:extLst>
          </p:cNvPr>
          <p:cNvSpPr/>
          <p:nvPr/>
        </p:nvSpPr>
        <p:spPr>
          <a:xfrm>
            <a:off x="478768" y="4424197"/>
            <a:ext cx="723803" cy="209244"/>
          </a:xfrm>
          <a:prstGeom prst="round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Microstrategy</a:t>
            </a:r>
          </a:p>
        </p:txBody>
      </p:sp>
      <p:sp>
        <p:nvSpPr>
          <p:cNvPr id="189" name="Rounded Rectangle 278">
            <a:extLst>
              <a:ext uri="{FF2B5EF4-FFF2-40B4-BE49-F238E27FC236}">
                <a16:creationId xmlns:a16="http://schemas.microsoft.com/office/drawing/2014/main" id="{B3FD4585-31E4-96E2-BEAA-21CE27FB115F}"/>
              </a:ext>
            </a:extLst>
          </p:cNvPr>
          <p:cNvSpPr/>
          <p:nvPr/>
        </p:nvSpPr>
        <p:spPr>
          <a:xfrm>
            <a:off x="1249880" y="4404884"/>
            <a:ext cx="549145" cy="212892"/>
          </a:xfrm>
          <a:prstGeom prst="round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Power BI</a:t>
            </a:r>
          </a:p>
        </p:txBody>
      </p:sp>
      <p:sp>
        <p:nvSpPr>
          <p:cNvPr id="190" name="Rounded Rectangle 279">
            <a:extLst>
              <a:ext uri="{FF2B5EF4-FFF2-40B4-BE49-F238E27FC236}">
                <a16:creationId xmlns:a16="http://schemas.microsoft.com/office/drawing/2014/main" id="{0B0851C2-8242-AFD8-E374-C978A72E18FA}"/>
              </a:ext>
            </a:extLst>
          </p:cNvPr>
          <p:cNvSpPr/>
          <p:nvPr/>
        </p:nvSpPr>
        <p:spPr>
          <a:xfrm>
            <a:off x="1859681" y="4416163"/>
            <a:ext cx="610648" cy="209244"/>
          </a:xfrm>
          <a:prstGeom prst="round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Tableau</a:t>
            </a:r>
          </a:p>
        </p:txBody>
      </p:sp>
      <p:sp>
        <p:nvSpPr>
          <p:cNvPr id="193" name="Rectangle: Rounded Corners 43">
            <a:extLst>
              <a:ext uri="{FF2B5EF4-FFF2-40B4-BE49-F238E27FC236}">
                <a16:creationId xmlns:a16="http://schemas.microsoft.com/office/drawing/2014/main" id="{9FBC1523-CBBA-7849-B805-1711117B1DB3}"/>
              </a:ext>
            </a:extLst>
          </p:cNvPr>
          <p:cNvSpPr/>
          <p:nvPr/>
        </p:nvSpPr>
        <p:spPr>
          <a:xfrm>
            <a:off x="396563" y="4126666"/>
            <a:ext cx="2144963" cy="562591"/>
          </a:xfrm>
          <a:prstGeom prst="roundRect">
            <a:avLst>
              <a:gd name="adj" fmla="val 10572"/>
            </a:avLst>
          </a:prstGeom>
          <a:noFill/>
          <a:ln w="317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195" name="Rectangle 194">
            <a:extLst>
              <a:ext uri="{FF2B5EF4-FFF2-40B4-BE49-F238E27FC236}">
                <a16:creationId xmlns:a16="http://schemas.microsoft.com/office/drawing/2014/main" id="{318A3C5A-5C46-218D-C90D-535F7DAADE12}"/>
              </a:ext>
            </a:extLst>
          </p:cNvPr>
          <p:cNvSpPr/>
          <p:nvPr/>
        </p:nvSpPr>
        <p:spPr>
          <a:xfrm>
            <a:off x="1577466" y="1592536"/>
            <a:ext cx="996511" cy="2308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9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Sources</a:t>
            </a:r>
          </a:p>
        </p:txBody>
      </p:sp>
      <p:cxnSp>
        <p:nvCxnSpPr>
          <p:cNvPr id="199" name="Straight Connector 198">
            <a:extLst>
              <a:ext uri="{FF2B5EF4-FFF2-40B4-BE49-F238E27FC236}">
                <a16:creationId xmlns:a16="http://schemas.microsoft.com/office/drawing/2014/main" id="{C3D3EFBB-EB6E-BC8A-C61E-D264060DE2F1}"/>
              </a:ext>
            </a:extLst>
          </p:cNvPr>
          <p:cNvCxnSpPr>
            <a:cxnSpLocks/>
          </p:cNvCxnSpPr>
          <p:nvPr/>
        </p:nvCxnSpPr>
        <p:spPr>
          <a:xfrm>
            <a:off x="2550090" y="3537234"/>
            <a:ext cx="203782" cy="0"/>
          </a:xfrm>
          <a:prstGeom prst="line">
            <a:avLst/>
          </a:prstGeom>
          <a:ln w="3175" cmpd="sng">
            <a:solidFill>
              <a:schemeClr val="tx1">
                <a:lumMod val="50000"/>
              </a:schemeClr>
            </a:solidFill>
            <a:headEnd type="arrow"/>
            <a:tailEnd type="arrow" w="med" len="sm"/>
          </a:ln>
          <a:effectLst/>
        </p:spPr>
        <p:style>
          <a:lnRef idx="2">
            <a:schemeClr val="accent1"/>
          </a:lnRef>
          <a:fillRef idx="0">
            <a:schemeClr val="accent1"/>
          </a:fillRef>
          <a:effectRef idx="1">
            <a:schemeClr val="accent1"/>
          </a:effectRef>
          <a:fontRef idx="minor">
            <a:schemeClr val="tx1"/>
          </a:fontRef>
        </p:style>
      </p:cxnSp>
      <p:sp>
        <p:nvSpPr>
          <p:cNvPr id="204" name="TextBox 203">
            <a:extLst>
              <a:ext uri="{FF2B5EF4-FFF2-40B4-BE49-F238E27FC236}">
                <a16:creationId xmlns:a16="http://schemas.microsoft.com/office/drawing/2014/main" id="{7D0E1C42-9EBB-A4F5-C6C0-1DC7E1D48986}"/>
              </a:ext>
            </a:extLst>
          </p:cNvPr>
          <p:cNvSpPr txBox="1"/>
          <p:nvPr/>
        </p:nvSpPr>
        <p:spPr>
          <a:xfrm>
            <a:off x="2716462" y="1240654"/>
            <a:ext cx="929580" cy="215444"/>
          </a:xfrm>
          <a:prstGeom prst="rect">
            <a:avLst/>
          </a:prstGeom>
          <a:noFill/>
        </p:spPr>
        <p:txBody>
          <a:bodyPr wrap="square" rtlCol="0" anchor="ctr">
            <a:spAutoFit/>
          </a:bodyPr>
          <a:lstStyle/>
          <a:p>
            <a:pPr marL="0" marR="0" lvl="0" indent="-119063" algn="ctr" defTabSz="1219170" rtl="0" eaLnBrk="1" fontAlgn="auto" latinLnBrk="0" hangingPunct="1">
              <a:lnSpc>
                <a:spcPct val="100000"/>
              </a:lnSpc>
              <a:spcBef>
                <a:spcPts val="0"/>
              </a:spcBef>
              <a:spcAft>
                <a:spcPts val="0"/>
              </a:spcAft>
              <a:buClr>
                <a:srgbClr val="FD0000"/>
              </a:buClr>
              <a:buSzPct val="115000"/>
              <a:buFont typeface="Arial"/>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Lineage</a:t>
            </a:r>
          </a:p>
        </p:txBody>
      </p:sp>
      <p:sp>
        <p:nvSpPr>
          <p:cNvPr id="205" name="TextBox 204">
            <a:extLst>
              <a:ext uri="{FF2B5EF4-FFF2-40B4-BE49-F238E27FC236}">
                <a16:creationId xmlns:a16="http://schemas.microsoft.com/office/drawing/2014/main" id="{475013F7-4183-406B-76B6-838B471CC08F}"/>
              </a:ext>
            </a:extLst>
          </p:cNvPr>
          <p:cNvSpPr txBox="1"/>
          <p:nvPr/>
        </p:nvSpPr>
        <p:spPr>
          <a:xfrm>
            <a:off x="3663997" y="1240654"/>
            <a:ext cx="929579" cy="215444"/>
          </a:xfrm>
          <a:prstGeom prst="rect">
            <a:avLst/>
          </a:prstGeom>
          <a:noFill/>
        </p:spPr>
        <p:txBody>
          <a:bodyPr wrap="square" rtlCol="0" anchor="ctr">
            <a:spAutoFit/>
          </a:bodyPr>
          <a:lstStyle/>
          <a:p>
            <a:pPr marL="0" marR="0" lvl="0" indent="-119063" algn="ctr" defTabSz="1219170" rtl="0" eaLnBrk="1" fontAlgn="auto" latinLnBrk="0" hangingPunct="1">
              <a:lnSpc>
                <a:spcPct val="100000"/>
              </a:lnSpc>
              <a:spcBef>
                <a:spcPts val="0"/>
              </a:spcBef>
              <a:spcAft>
                <a:spcPts val="0"/>
              </a:spcAft>
              <a:buClr>
                <a:srgbClr val="FD0000"/>
              </a:buClr>
              <a:buSzPct val="115000"/>
              <a:buFont typeface="Arial"/>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Privacy</a:t>
            </a:r>
          </a:p>
        </p:txBody>
      </p:sp>
      <p:sp>
        <p:nvSpPr>
          <p:cNvPr id="206" name="TextBox 205">
            <a:extLst>
              <a:ext uri="{FF2B5EF4-FFF2-40B4-BE49-F238E27FC236}">
                <a16:creationId xmlns:a16="http://schemas.microsoft.com/office/drawing/2014/main" id="{970DC3A9-F210-68FF-2B7E-5220B6657DA6}"/>
              </a:ext>
            </a:extLst>
          </p:cNvPr>
          <p:cNvSpPr txBox="1"/>
          <p:nvPr/>
        </p:nvSpPr>
        <p:spPr>
          <a:xfrm>
            <a:off x="4611531" y="1179099"/>
            <a:ext cx="929581" cy="338554"/>
          </a:xfrm>
          <a:prstGeom prst="rect">
            <a:avLst/>
          </a:prstGeom>
          <a:noFill/>
        </p:spPr>
        <p:txBody>
          <a:bodyPr wrap="square" rtlCol="0" anchor="ctr">
            <a:spAutoFit/>
          </a:bodyPr>
          <a:lstStyle/>
          <a:p>
            <a:pPr marL="0" marR="0" lvl="0" indent="-119063" algn="ctr" defTabSz="1219170" rtl="0" eaLnBrk="1" fontAlgn="auto" latinLnBrk="0" hangingPunct="1">
              <a:lnSpc>
                <a:spcPct val="100000"/>
              </a:lnSpc>
              <a:spcBef>
                <a:spcPts val="0"/>
              </a:spcBef>
              <a:spcAft>
                <a:spcPts val="0"/>
              </a:spcAft>
              <a:buClr>
                <a:srgbClr val="FD0000"/>
              </a:buClr>
              <a:buSzPct val="115000"/>
              <a:buFont typeface="Arial"/>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Issue Management</a:t>
            </a:r>
          </a:p>
        </p:txBody>
      </p:sp>
      <p:grpSp>
        <p:nvGrpSpPr>
          <p:cNvPr id="225" name="Group 224">
            <a:extLst>
              <a:ext uri="{FF2B5EF4-FFF2-40B4-BE49-F238E27FC236}">
                <a16:creationId xmlns:a16="http://schemas.microsoft.com/office/drawing/2014/main" id="{F8CE48D9-83D6-9E7B-8154-4555B266C599}"/>
              </a:ext>
            </a:extLst>
          </p:cNvPr>
          <p:cNvGrpSpPr/>
          <p:nvPr/>
        </p:nvGrpSpPr>
        <p:grpSpPr>
          <a:xfrm>
            <a:off x="6929668" y="4596065"/>
            <a:ext cx="413418" cy="641203"/>
            <a:chOff x="4784792" y="4257774"/>
            <a:chExt cx="413418" cy="350792"/>
          </a:xfrm>
        </p:grpSpPr>
        <p:cxnSp>
          <p:nvCxnSpPr>
            <p:cNvPr id="226" name="Straight Arrow Connector 225">
              <a:extLst>
                <a:ext uri="{FF2B5EF4-FFF2-40B4-BE49-F238E27FC236}">
                  <a16:creationId xmlns:a16="http://schemas.microsoft.com/office/drawing/2014/main" id="{25C3DC70-A217-59E0-829B-A8ACADD1455B}"/>
                </a:ext>
              </a:extLst>
            </p:cNvPr>
            <p:cNvCxnSpPr>
              <a:cxnSpLocks/>
            </p:cNvCxnSpPr>
            <p:nvPr/>
          </p:nvCxnSpPr>
          <p:spPr>
            <a:xfrm flipV="1">
              <a:off x="5073699" y="4258389"/>
              <a:ext cx="0" cy="350177"/>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227" name="Graphic 191" descr="Chevron arrows">
              <a:extLst>
                <a:ext uri="{FF2B5EF4-FFF2-40B4-BE49-F238E27FC236}">
                  <a16:creationId xmlns:a16="http://schemas.microsoft.com/office/drawing/2014/main" id="{E5944DAA-5F89-EFEA-2E1F-DE5B7A7ED4B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5034644" y="4304658"/>
              <a:ext cx="88074" cy="239059"/>
            </a:xfrm>
            <a:prstGeom prst="rect">
              <a:avLst/>
            </a:prstGeom>
          </p:spPr>
        </p:pic>
        <p:cxnSp>
          <p:nvCxnSpPr>
            <p:cNvPr id="228" name="Straight Arrow Connector 227">
              <a:extLst>
                <a:ext uri="{FF2B5EF4-FFF2-40B4-BE49-F238E27FC236}">
                  <a16:creationId xmlns:a16="http://schemas.microsoft.com/office/drawing/2014/main" id="{40821993-D373-935E-505B-F6F3D5970FF0}"/>
                </a:ext>
              </a:extLst>
            </p:cNvPr>
            <p:cNvCxnSpPr>
              <a:cxnSpLocks/>
            </p:cNvCxnSpPr>
            <p:nvPr/>
          </p:nvCxnSpPr>
          <p:spPr>
            <a:xfrm>
              <a:off x="4907321" y="4257774"/>
              <a:ext cx="0" cy="347709"/>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229" name="Graphic 191" descr="Chevron arrows">
              <a:extLst>
                <a:ext uri="{FF2B5EF4-FFF2-40B4-BE49-F238E27FC236}">
                  <a16:creationId xmlns:a16="http://schemas.microsoft.com/office/drawing/2014/main" id="{96D214CD-52DA-A388-F755-61FEDBEAB5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4860285" y="4302755"/>
              <a:ext cx="88074" cy="239059"/>
            </a:xfrm>
            <a:prstGeom prst="rect">
              <a:avLst/>
            </a:prstGeom>
          </p:spPr>
        </p:pic>
      </p:grpSp>
      <p:cxnSp>
        <p:nvCxnSpPr>
          <p:cNvPr id="237" name="Straight Arrow Connector 236">
            <a:extLst>
              <a:ext uri="{FF2B5EF4-FFF2-40B4-BE49-F238E27FC236}">
                <a16:creationId xmlns:a16="http://schemas.microsoft.com/office/drawing/2014/main" id="{F8E5243E-8B57-889A-C153-4A33D82552D0}"/>
              </a:ext>
            </a:extLst>
          </p:cNvPr>
          <p:cNvCxnSpPr>
            <a:cxnSpLocks/>
          </p:cNvCxnSpPr>
          <p:nvPr/>
        </p:nvCxnSpPr>
        <p:spPr>
          <a:xfrm flipH="1">
            <a:off x="8696702" y="5412965"/>
            <a:ext cx="1980175" cy="9933"/>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A5CC13AE-694D-2622-5D32-B2D35C54117F}"/>
              </a:ext>
            </a:extLst>
          </p:cNvPr>
          <p:cNvCxnSpPr>
            <a:cxnSpLocks/>
          </p:cNvCxnSpPr>
          <p:nvPr/>
        </p:nvCxnSpPr>
        <p:spPr>
          <a:xfrm>
            <a:off x="2470329" y="2321369"/>
            <a:ext cx="301308" cy="0"/>
          </a:xfrm>
          <a:prstGeom prst="line">
            <a:avLst/>
          </a:prstGeom>
          <a:ln w="3175" cmpd="sng">
            <a:solidFill>
              <a:schemeClr val="tx1">
                <a:lumMod val="50000"/>
              </a:schemeClr>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241" name="Rounded Rectangle 203">
            <a:extLst>
              <a:ext uri="{FF2B5EF4-FFF2-40B4-BE49-F238E27FC236}">
                <a16:creationId xmlns:a16="http://schemas.microsoft.com/office/drawing/2014/main" id="{A44A9021-4441-BAC2-A98F-56F8F6C1BD37}"/>
              </a:ext>
            </a:extLst>
          </p:cNvPr>
          <p:cNvSpPr/>
          <p:nvPr/>
        </p:nvSpPr>
        <p:spPr>
          <a:xfrm>
            <a:off x="7955304" y="1924049"/>
            <a:ext cx="1471861" cy="1925082"/>
          </a:xfrm>
          <a:prstGeom prst="roundRect">
            <a:avLst>
              <a:gd name="adj" fmla="val 8072"/>
            </a:avLst>
          </a:prstGeom>
          <a:noFill/>
          <a:ln w="3175" cap="flat" cmpd="sng" algn="ctr">
            <a:solidFill>
              <a:srgbClr val="000000"/>
            </a:solidFill>
            <a:prstDash val="solid"/>
          </a:ln>
          <a:effectLst/>
        </p:spPr>
        <p:txBody>
          <a:bodyPr rtlCol="0" anchor="t"/>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GB" sz="8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Business and Governance Metadata</a:t>
            </a:r>
          </a:p>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GB" sz="8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GB" sz="8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242" name="Rectangle: Rounded Corners 398">
            <a:extLst>
              <a:ext uri="{FF2B5EF4-FFF2-40B4-BE49-F238E27FC236}">
                <a16:creationId xmlns:a16="http://schemas.microsoft.com/office/drawing/2014/main" id="{890A4512-91BC-7929-0357-57B64D9BEAAA}"/>
              </a:ext>
            </a:extLst>
          </p:cNvPr>
          <p:cNvSpPr>
            <a:spLocks noChangeAspect="1"/>
          </p:cNvSpPr>
          <p:nvPr/>
        </p:nvSpPr>
        <p:spPr>
          <a:xfrm>
            <a:off x="10688912" y="4302277"/>
            <a:ext cx="1197430" cy="2013919"/>
          </a:xfrm>
          <a:prstGeom prst="roundRect">
            <a:avLst>
              <a:gd name="adj" fmla="val 7420"/>
            </a:avLst>
          </a:prstGeom>
          <a:no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243" name="TextBox 242">
            <a:extLst>
              <a:ext uri="{FF2B5EF4-FFF2-40B4-BE49-F238E27FC236}">
                <a16:creationId xmlns:a16="http://schemas.microsoft.com/office/drawing/2014/main" id="{BC0BC2D4-536A-D5FE-0019-3CDF83EA4EFD}"/>
              </a:ext>
            </a:extLst>
          </p:cNvPr>
          <p:cNvSpPr txBox="1"/>
          <p:nvPr/>
        </p:nvSpPr>
        <p:spPr>
          <a:xfrm>
            <a:off x="11376419" y="5150236"/>
            <a:ext cx="426331" cy="338554"/>
          </a:xfrm>
          <a:prstGeom prst="rect">
            <a:avLst/>
          </a:prstGeom>
          <a:noFill/>
        </p:spPr>
        <p:txBody>
          <a:bodyPr wrap="square" lIns="0" rIns="0" rtlCol="0" anchor="ctr">
            <a:spAutoFit/>
          </a:bodyPr>
          <a:lstStyle>
            <a:defPPr>
              <a:defRPr lang="en-US"/>
            </a:defPPr>
            <a:lvl1pPr>
              <a:defRPr sz="8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Canned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Reports</a:t>
            </a:r>
          </a:p>
        </p:txBody>
      </p:sp>
      <p:pic>
        <p:nvPicPr>
          <p:cNvPr id="244" name="Picture 243">
            <a:extLst>
              <a:ext uri="{FF2B5EF4-FFF2-40B4-BE49-F238E27FC236}">
                <a16:creationId xmlns:a16="http://schemas.microsoft.com/office/drawing/2014/main" id="{786E6694-2496-70EC-A114-B4E4C307BECF}"/>
              </a:ext>
            </a:extLst>
          </p:cNvPr>
          <p:cNvPicPr>
            <a:picLocks noChangeAspect="1"/>
          </p:cNvPicPr>
          <p:nvPr/>
        </p:nvPicPr>
        <p:blipFill>
          <a:blip r:embed="rId7"/>
          <a:stretch>
            <a:fillRect/>
          </a:stretch>
        </p:blipFill>
        <p:spPr>
          <a:xfrm>
            <a:off x="10835583" y="5129072"/>
            <a:ext cx="507189" cy="388777"/>
          </a:xfrm>
          <a:prstGeom prst="rect">
            <a:avLst/>
          </a:prstGeom>
        </p:spPr>
      </p:pic>
      <p:sp>
        <p:nvSpPr>
          <p:cNvPr id="245" name="TextBox 244">
            <a:extLst>
              <a:ext uri="{FF2B5EF4-FFF2-40B4-BE49-F238E27FC236}">
                <a16:creationId xmlns:a16="http://schemas.microsoft.com/office/drawing/2014/main" id="{6710A98F-8DCD-E35C-8F24-BA97AAD93AED}"/>
              </a:ext>
            </a:extLst>
          </p:cNvPr>
          <p:cNvSpPr txBox="1"/>
          <p:nvPr/>
        </p:nvSpPr>
        <p:spPr>
          <a:xfrm>
            <a:off x="10733833" y="4351578"/>
            <a:ext cx="1023846" cy="369332"/>
          </a:xfrm>
          <a:prstGeom prst="rect">
            <a:avLst/>
          </a:prstGeom>
          <a:noFill/>
        </p:spPr>
        <p:txBody>
          <a:bodyPr wrap="square" lIns="0" rIns="0" rtlCol="0" anchor="ctr">
            <a:spAutoFit/>
          </a:bodyPr>
          <a:lstStyle>
            <a:defPPr>
              <a:defRPr lang="en-US"/>
            </a:defPPr>
            <a:lvl1pPr algn="ctr">
              <a:defRPr sz="800" b="1">
                <a:solidFill>
                  <a:srgbClr val="00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Reporting Delivery</a:t>
            </a:r>
          </a:p>
        </p:txBody>
      </p:sp>
      <p:sp>
        <p:nvSpPr>
          <p:cNvPr id="246" name="TextBox 245">
            <a:extLst>
              <a:ext uri="{FF2B5EF4-FFF2-40B4-BE49-F238E27FC236}">
                <a16:creationId xmlns:a16="http://schemas.microsoft.com/office/drawing/2014/main" id="{73773679-6EFD-D63C-8D47-A70ED1084C64}"/>
              </a:ext>
            </a:extLst>
          </p:cNvPr>
          <p:cNvSpPr txBox="1"/>
          <p:nvPr/>
        </p:nvSpPr>
        <p:spPr>
          <a:xfrm>
            <a:off x="11387963" y="5890861"/>
            <a:ext cx="606017" cy="338554"/>
          </a:xfrm>
          <a:prstGeom prst="rect">
            <a:avLst/>
          </a:prstGeom>
          <a:noFill/>
        </p:spPr>
        <p:txBody>
          <a:bodyPr wrap="square" lIns="0" rIns="0" rtlCol="0" anchor="ctr">
            <a:spAutoFit/>
          </a:bodyPr>
          <a:lstStyle>
            <a:defPPr>
              <a:defRPr lang="en-US"/>
            </a:defPPr>
            <a:lvl1pPr>
              <a:defRPr sz="8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elf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ervice</a:t>
            </a:r>
          </a:p>
        </p:txBody>
      </p:sp>
      <p:pic>
        <p:nvPicPr>
          <p:cNvPr id="247" name="Picture 246">
            <a:extLst>
              <a:ext uri="{FF2B5EF4-FFF2-40B4-BE49-F238E27FC236}">
                <a16:creationId xmlns:a16="http://schemas.microsoft.com/office/drawing/2014/main" id="{7A7B0354-1F00-1300-C633-0F1BB6FFED60}"/>
              </a:ext>
            </a:extLst>
          </p:cNvPr>
          <p:cNvPicPr>
            <a:picLocks noChangeAspect="1"/>
          </p:cNvPicPr>
          <p:nvPr/>
        </p:nvPicPr>
        <p:blipFill>
          <a:blip r:embed="rId7"/>
          <a:stretch>
            <a:fillRect/>
          </a:stretch>
        </p:blipFill>
        <p:spPr>
          <a:xfrm>
            <a:off x="10856403" y="5835126"/>
            <a:ext cx="507189" cy="388777"/>
          </a:xfrm>
          <a:prstGeom prst="rect">
            <a:avLst/>
          </a:prstGeom>
        </p:spPr>
      </p:pic>
      <p:pic>
        <p:nvPicPr>
          <p:cNvPr id="249" name="Graphic 260" descr="Right pointing backhand index">
            <a:extLst>
              <a:ext uri="{FF2B5EF4-FFF2-40B4-BE49-F238E27FC236}">
                <a16:creationId xmlns:a16="http://schemas.microsoft.com/office/drawing/2014/main" id="{8C572A3C-FFA8-9109-FD09-E2A37FB75DC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10764636" y="4665544"/>
            <a:ext cx="318327" cy="318327"/>
          </a:xfrm>
          <a:prstGeom prst="rect">
            <a:avLst/>
          </a:prstGeom>
        </p:spPr>
      </p:pic>
      <p:grpSp>
        <p:nvGrpSpPr>
          <p:cNvPr id="250" name="Group 249">
            <a:extLst>
              <a:ext uri="{FF2B5EF4-FFF2-40B4-BE49-F238E27FC236}">
                <a16:creationId xmlns:a16="http://schemas.microsoft.com/office/drawing/2014/main" id="{B882B600-55DD-AA8C-7BE7-142F724962CF}"/>
              </a:ext>
            </a:extLst>
          </p:cNvPr>
          <p:cNvGrpSpPr/>
          <p:nvPr/>
        </p:nvGrpSpPr>
        <p:grpSpPr>
          <a:xfrm>
            <a:off x="11041957" y="4724817"/>
            <a:ext cx="290251" cy="201193"/>
            <a:chOff x="5109071" y="4649407"/>
            <a:chExt cx="290251" cy="201193"/>
          </a:xfrm>
        </p:grpSpPr>
        <p:sp>
          <p:nvSpPr>
            <p:cNvPr id="251" name="Freeform 161">
              <a:extLst>
                <a:ext uri="{FF2B5EF4-FFF2-40B4-BE49-F238E27FC236}">
                  <a16:creationId xmlns:a16="http://schemas.microsoft.com/office/drawing/2014/main" id="{812974B5-917A-DFC3-93DC-F6106C82BA5B}"/>
                </a:ext>
              </a:extLst>
            </p:cNvPr>
            <p:cNvSpPr>
              <a:spLocks/>
            </p:cNvSpPr>
            <p:nvPr/>
          </p:nvSpPr>
          <p:spPr bwMode="auto">
            <a:xfrm>
              <a:off x="5132079" y="4649407"/>
              <a:ext cx="244236" cy="149605"/>
            </a:xfrm>
            <a:custGeom>
              <a:avLst/>
              <a:gdLst>
                <a:gd name="T0" fmla="*/ 5 w 208"/>
                <a:gd name="T1" fmla="*/ 131 h 131"/>
                <a:gd name="T2" fmla="*/ 10 w 208"/>
                <a:gd name="T3" fmla="*/ 126 h 131"/>
                <a:gd name="T4" fmla="*/ 10 w 208"/>
                <a:gd name="T5" fmla="*/ 13 h 131"/>
                <a:gd name="T6" fmla="*/ 12 w 208"/>
                <a:gd name="T7" fmla="*/ 10 h 131"/>
                <a:gd name="T8" fmla="*/ 195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5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5" y="10"/>
                    <a:pt x="195" y="10"/>
                    <a:pt x="195"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5"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252" name="Freeform 162">
              <a:extLst>
                <a:ext uri="{FF2B5EF4-FFF2-40B4-BE49-F238E27FC236}">
                  <a16:creationId xmlns:a16="http://schemas.microsoft.com/office/drawing/2014/main" id="{AF881301-22D1-8552-B38F-B91E0F479E04}"/>
                </a:ext>
              </a:extLst>
            </p:cNvPr>
            <p:cNvSpPr>
              <a:spLocks noEditPoints="1"/>
            </p:cNvSpPr>
            <p:nvPr/>
          </p:nvSpPr>
          <p:spPr bwMode="auto">
            <a:xfrm>
              <a:off x="5109071" y="4812769"/>
              <a:ext cx="290251" cy="37831"/>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5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5" y="18"/>
                  </a:cubicBezTo>
                  <a:cubicBezTo>
                    <a:pt x="132" y="18"/>
                    <a:pt x="132" y="18"/>
                    <a:pt x="132" y="18"/>
                  </a:cubicBezTo>
                  <a:cubicBezTo>
                    <a:pt x="137" y="18"/>
                    <a:pt x="141" y="14"/>
                    <a:pt x="141" y="10"/>
                  </a:cubicBezTo>
                  <a:cubicBezTo>
                    <a:pt x="238" y="10"/>
                    <a:pt x="238" y="10"/>
                    <a:pt x="238" y="10"/>
                  </a:cubicBezTo>
                  <a:lnTo>
                    <a:pt x="238" y="2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253" name="Freeform 163">
              <a:extLst>
                <a:ext uri="{FF2B5EF4-FFF2-40B4-BE49-F238E27FC236}">
                  <a16:creationId xmlns:a16="http://schemas.microsoft.com/office/drawing/2014/main" id="{4B0EF403-DD91-108F-F9F7-2668C387E714}"/>
                </a:ext>
              </a:extLst>
            </p:cNvPr>
            <p:cNvSpPr>
              <a:spLocks/>
            </p:cNvSpPr>
            <p:nvPr/>
          </p:nvSpPr>
          <p:spPr bwMode="auto">
            <a:xfrm>
              <a:off x="5171015" y="4688098"/>
              <a:ext cx="164594" cy="92858"/>
            </a:xfrm>
            <a:custGeom>
              <a:avLst/>
              <a:gdLst>
                <a:gd name="T0" fmla="*/ 131 w 140"/>
                <a:gd name="T1" fmla="*/ 37 h 81"/>
                <a:gd name="T2" fmla="*/ 140 w 140"/>
                <a:gd name="T3" fmla="*/ 27 h 81"/>
                <a:gd name="T4" fmla="*/ 131 w 140"/>
                <a:gd name="T5" fmla="*/ 18 h 81"/>
                <a:gd name="T6" fmla="*/ 121 w 140"/>
                <a:gd name="T7" fmla="*/ 27 h 81"/>
                <a:gd name="T8" fmla="*/ 122 w 140"/>
                <a:gd name="T9" fmla="*/ 30 h 81"/>
                <a:gd name="T10" fmla="*/ 92 w 140"/>
                <a:gd name="T11" fmla="*/ 62 h 81"/>
                <a:gd name="T12" fmla="*/ 90 w 140"/>
                <a:gd name="T13" fmla="*/ 62 h 81"/>
                <a:gd name="T14" fmla="*/ 90 w 140"/>
                <a:gd name="T15" fmla="*/ 62 h 81"/>
                <a:gd name="T16" fmla="*/ 58 w 140"/>
                <a:gd name="T17" fmla="*/ 13 h 81"/>
                <a:gd name="T18" fmla="*/ 59 w 140"/>
                <a:gd name="T19" fmla="*/ 9 h 81"/>
                <a:gd name="T20" fmla="*/ 50 w 140"/>
                <a:gd name="T21" fmla="*/ 0 h 81"/>
                <a:gd name="T22" fmla="*/ 41 w 140"/>
                <a:gd name="T23" fmla="*/ 9 h 81"/>
                <a:gd name="T24" fmla="*/ 41 w 140"/>
                <a:gd name="T25" fmla="*/ 9 h 81"/>
                <a:gd name="T26" fmla="*/ 40 w 140"/>
                <a:gd name="T27" fmla="*/ 9 h 81"/>
                <a:gd name="T28" fmla="*/ 13 w 140"/>
                <a:gd name="T29" fmla="*/ 26 h 81"/>
                <a:gd name="T30" fmla="*/ 9 w 140"/>
                <a:gd name="T31" fmla="*/ 25 h 81"/>
                <a:gd name="T32" fmla="*/ 0 w 140"/>
                <a:gd name="T33" fmla="*/ 35 h 81"/>
                <a:gd name="T34" fmla="*/ 9 w 140"/>
                <a:gd name="T35" fmla="*/ 44 h 81"/>
                <a:gd name="T36" fmla="*/ 19 w 140"/>
                <a:gd name="T37" fmla="*/ 35 h 81"/>
                <a:gd name="T38" fmla="*/ 19 w 140"/>
                <a:gd name="T39" fmla="*/ 35 h 81"/>
                <a:gd name="T40" fmla="*/ 46 w 140"/>
                <a:gd name="T41" fmla="*/ 18 h 81"/>
                <a:gd name="T42" fmla="*/ 46 w 140"/>
                <a:gd name="T43" fmla="*/ 18 h 81"/>
                <a:gd name="T44" fmla="*/ 50 w 140"/>
                <a:gd name="T45" fmla="*/ 18 h 81"/>
                <a:gd name="T46" fmla="*/ 50 w 140"/>
                <a:gd name="T47" fmla="*/ 18 h 81"/>
                <a:gd name="T48" fmla="*/ 82 w 140"/>
                <a:gd name="T49" fmla="*/ 68 h 81"/>
                <a:gd name="T50" fmla="*/ 81 w 140"/>
                <a:gd name="T51" fmla="*/ 72 h 81"/>
                <a:gd name="T52" fmla="*/ 90 w 140"/>
                <a:gd name="T53" fmla="*/ 81 h 81"/>
                <a:gd name="T54" fmla="*/ 100 w 140"/>
                <a:gd name="T55" fmla="*/ 72 h 81"/>
                <a:gd name="T56" fmla="*/ 99 w 140"/>
                <a:gd name="T57" fmla="*/ 69 h 81"/>
                <a:gd name="T58" fmla="*/ 129 w 140"/>
                <a:gd name="T59" fmla="*/ 37 h 81"/>
                <a:gd name="T60" fmla="*/ 131 w 140"/>
                <a:gd name="T61" fmla="*/ 3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81">
                  <a:moveTo>
                    <a:pt x="131" y="37"/>
                  </a:moveTo>
                  <a:cubicBezTo>
                    <a:pt x="136" y="37"/>
                    <a:pt x="140" y="33"/>
                    <a:pt x="140" y="27"/>
                  </a:cubicBezTo>
                  <a:cubicBezTo>
                    <a:pt x="140" y="22"/>
                    <a:pt x="136" y="18"/>
                    <a:pt x="131" y="18"/>
                  </a:cubicBezTo>
                  <a:cubicBezTo>
                    <a:pt x="126" y="18"/>
                    <a:pt x="121" y="22"/>
                    <a:pt x="121" y="27"/>
                  </a:cubicBezTo>
                  <a:cubicBezTo>
                    <a:pt x="121" y="28"/>
                    <a:pt x="122" y="29"/>
                    <a:pt x="122" y="30"/>
                  </a:cubicBezTo>
                  <a:cubicBezTo>
                    <a:pt x="92" y="62"/>
                    <a:pt x="92" y="62"/>
                    <a:pt x="92" y="62"/>
                  </a:cubicBezTo>
                  <a:cubicBezTo>
                    <a:pt x="91" y="62"/>
                    <a:pt x="91" y="62"/>
                    <a:pt x="90" y="62"/>
                  </a:cubicBezTo>
                  <a:cubicBezTo>
                    <a:pt x="90" y="62"/>
                    <a:pt x="90" y="62"/>
                    <a:pt x="90" y="62"/>
                  </a:cubicBezTo>
                  <a:cubicBezTo>
                    <a:pt x="58" y="13"/>
                    <a:pt x="58" y="13"/>
                    <a:pt x="58" y="13"/>
                  </a:cubicBezTo>
                  <a:cubicBezTo>
                    <a:pt x="59" y="12"/>
                    <a:pt x="59" y="11"/>
                    <a:pt x="59" y="9"/>
                  </a:cubicBezTo>
                  <a:cubicBezTo>
                    <a:pt x="59" y="4"/>
                    <a:pt x="55" y="0"/>
                    <a:pt x="50" y="0"/>
                  </a:cubicBezTo>
                  <a:cubicBezTo>
                    <a:pt x="45" y="0"/>
                    <a:pt x="41" y="4"/>
                    <a:pt x="41" y="9"/>
                  </a:cubicBezTo>
                  <a:cubicBezTo>
                    <a:pt x="41" y="9"/>
                    <a:pt x="41" y="9"/>
                    <a:pt x="41" y="9"/>
                  </a:cubicBezTo>
                  <a:cubicBezTo>
                    <a:pt x="41" y="9"/>
                    <a:pt x="40" y="9"/>
                    <a:pt x="40" y="9"/>
                  </a:cubicBezTo>
                  <a:cubicBezTo>
                    <a:pt x="13" y="26"/>
                    <a:pt x="13" y="26"/>
                    <a:pt x="13" y="26"/>
                  </a:cubicBezTo>
                  <a:cubicBezTo>
                    <a:pt x="12" y="26"/>
                    <a:pt x="11" y="25"/>
                    <a:pt x="9" y="25"/>
                  </a:cubicBezTo>
                  <a:cubicBezTo>
                    <a:pt x="4" y="25"/>
                    <a:pt x="0" y="30"/>
                    <a:pt x="0" y="35"/>
                  </a:cubicBezTo>
                  <a:cubicBezTo>
                    <a:pt x="0" y="40"/>
                    <a:pt x="4" y="44"/>
                    <a:pt x="9" y="44"/>
                  </a:cubicBezTo>
                  <a:cubicBezTo>
                    <a:pt x="15" y="44"/>
                    <a:pt x="19" y="40"/>
                    <a:pt x="19" y="35"/>
                  </a:cubicBezTo>
                  <a:cubicBezTo>
                    <a:pt x="19" y="35"/>
                    <a:pt x="19" y="35"/>
                    <a:pt x="19" y="35"/>
                  </a:cubicBezTo>
                  <a:cubicBezTo>
                    <a:pt x="46" y="18"/>
                    <a:pt x="46" y="18"/>
                    <a:pt x="46" y="18"/>
                  </a:cubicBezTo>
                  <a:cubicBezTo>
                    <a:pt x="46" y="18"/>
                    <a:pt x="46" y="18"/>
                    <a:pt x="46" y="18"/>
                  </a:cubicBezTo>
                  <a:cubicBezTo>
                    <a:pt x="47" y="18"/>
                    <a:pt x="48" y="18"/>
                    <a:pt x="50" y="18"/>
                  </a:cubicBezTo>
                  <a:cubicBezTo>
                    <a:pt x="50" y="18"/>
                    <a:pt x="50" y="18"/>
                    <a:pt x="50" y="18"/>
                  </a:cubicBezTo>
                  <a:cubicBezTo>
                    <a:pt x="82" y="68"/>
                    <a:pt x="82" y="68"/>
                    <a:pt x="82" y="68"/>
                  </a:cubicBezTo>
                  <a:cubicBezTo>
                    <a:pt x="81" y="69"/>
                    <a:pt x="81" y="70"/>
                    <a:pt x="81" y="72"/>
                  </a:cubicBezTo>
                  <a:cubicBezTo>
                    <a:pt x="81" y="77"/>
                    <a:pt x="85" y="81"/>
                    <a:pt x="90" y="81"/>
                  </a:cubicBezTo>
                  <a:cubicBezTo>
                    <a:pt x="95" y="81"/>
                    <a:pt x="100" y="77"/>
                    <a:pt x="100" y="72"/>
                  </a:cubicBezTo>
                  <a:cubicBezTo>
                    <a:pt x="100" y="71"/>
                    <a:pt x="100" y="70"/>
                    <a:pt x="99" y="69"/>
                  </a:cubicBezTo>
                  <a:cubicBezTo>
                    <a:pt x="129" y="37"/>
                    <a:pt x="129" y="37"/>
                    <a:pt x="129" y="37"/>
                  </a:cubicBezTo>
                  <a:cubicBezTo>
                    <a:pt x="130" y="37"/>
                    <a:pt x="130" y="37"/>
                    <a:pt x="131" y="37"/>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pic>
        <p:nvPicPr>
          <p:cNvPr id="254" name="Picture 8" descr="Calendar, schedule, scheduler, time icon - Download on Iconfinder">
            <a:extLst>
              <a:ext uri="{FF2B5EF4-FFF2-40B4-BE49-F238E27FC236}">
                <a16:creationId xmlns:a16="http://schemas.microsoft.com/office/drawing/2014/main" id="{400BDE96-8062-2E51-3BCB-BB1C78FDA3A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434705" y="4700126"/>
            <a:ext cx="256032" cy="256032"/>
          </a:xfrm>
          <a:prstGeom prst="rect">
            <a:avLst/>
          </a:prstGeom>
          <a:noFill/>
          <a:extLst>
            <a:ext uri="{909E8E84-426E-40DD-AFC4-6F175D3DCCD1}">
              <a14:hiddenFill xmlns:a14="http://schemas.microsoft.com/office/drawing/2010/main">
                <a:solidFill>
                  <a:srgbClr val="FFFFFF"/>
                </a:solidFill>
              </a14:hiddenFill>
            </a:ext>
          </a:extLst>
        </p:spPr>
      </p:pic>
      <p:sp>
        <p:nvSpPr>
          <p:cNvPr id="255" name="Rectangle: Rounded Corners 398">
            <a:extLst>
              <a:ext uri="{FF2B5EF4-FFF2-40B4-BE49-F238E27FC236}">
                <a16:creationId xmlns:a16="http://schemas.microsoft.com/office/drawing/2014/main" id="{4FFE6721-C60F-B280-6539-36E3D1F5C06C}"/>
              </a:ext>
            </a:extLst>
          </p:cNvPr>
          <p:cNvSpPr>
            <a:spLocks noChangeAspect="1"/>
          </p:cNvSpPr>
          <p:nvPr/>
        </p:nvSpPr>
        <p:spPr>
          <a:xfrm>
            <a:off x="10705718" y="2263976"/>
            <a:ext cx="1082015" cy="1661320"/>
          </a:xfrm>
          <a:prstGeom prst="roundRect">
            <a:avLst>
              <a:gd name="adj" fmla="val 7420"/>
            </a:avLst>
          </a:prstGeom>
          <a:no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259" name="Rounded Rectangle 193">
            <a:extLst>
              <a:ext uri="{FF2B5EF4-FFF2-40B4-BE49-F238E27FC236}">
                <a16:creationId xmlns:a16="http://schemas.microsoft.com/office/drawing/2014/main" id="{CDE417DB-B2BA-4F90-FD91-2F60731D1C5F}"/>
              </a:ext>
            </a:extLst>
          </p:cNvPr>
          <p:cNvSpPr/>
          <p:nvPr/>
        </p:nvSpPr>
        <p:spPr>
          <a:xfrm>
            <a:off x="1663055" y="2474694"/>
            <a:ext cx="767037" cy="621316"/>
          </a:xfrm>
          <a:prstGeom prst="roundRect">
            <a:avLst/>
          </a:prstGeom>
          <a:noFill/>
          <a:ln w="3175" cap="flat" cmpd="sng" algn="ctr">
            <a:solidFill>
              <a:srgbClr val="000000"/>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Hive</a:t>
            </a:r>
          </a:p>
        </p:txBody>
      </p:sp>
      <p:sp>
        <p:nvSpPr>
          <p:cNvPr id="261" name="Rectangle: Rounded Corners 43">
            <a:extLst>
              <a:ext uri="{FF2B5EF4-FFF2-40B4-BE49-F238E27FC236}">
                <a16:creationId xmlns:a16="http://schemas.microsoft.com/office/drawing/2014/main" id="{C8B1302D-4262-BEAD-9160-37DCDD546770}"/>
              </a:ext>
            </a:extLst>
          </p:cNvPr>
          <p:cNvSpPr/>
          <p:nvPr/>
        </p:nvSpPr>
        <p:spPr>
          <a:xfrm>
            <a:off x="2642884" y="1088139"/>
            <a:ext cx="7933307" cy="506735"/>
          </a:xfrm>
          <a:prstGeom prst="roundRect">
            <a:avLst/>
          </a:prstGeom>
          <a:noFill/>
          <a:ln w="3175" cap="flat" cmpd="sng" algn="ctr">
            <a:solidFill>
              <a:srgbClr val="000000"/>
            </a:solid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pic>
        <p:nvPicPr>
          <p:cNvPr id="271" name="Picture 270">
            <a:extLst>
              <a:ext uri="{FF2B5EF4-FFF2-40B4-BE49-F238E27FC236}">
                <a16:creationId xmlns:a16="http://schemas.microsoft.com/office/drawing/2014/main" id="{AE05A235-8BB8-9A95-2B4D-0317FFA325B3}"/>
              </a:ext>
            </a:extLst>
          </p:cNvPr>
          <p:cNvPicPr>
            <a:picLocks noChangeAspect="1"/>
          </p:cNvPicPr>
          <p:nvPr/>
        </p:nvPicPr>
        <p:blipFill>
          <a:blip r:embed="rId11"/>
          <a:stretch>
            <a:fillRect/>
          </a:stretch>
        </p:blipFill>
        <p:spPr>
          <a:xfrm>
            <a:off x="2902728" y="1948980"/>
            <a:ext cx="220787" cy="202697"/>
          </a:xfrm>
          <a:prstGeom prst="rect">
            <a:avLst/>
          </a:prstGeom>
        </p:spPr>
      </p:pic>
      <p:pic>
        <p:nvPicPr>
          <p:cNvPr id="281" name="Picture 8" descr="Calendar, schedule, scheduler, time icon - Download on Iconfinder">
            <a:extLst>
              <a:ext uri="{FF2B5EF4-FFF2-40B4-BE49-F238E27FC236}">
                <a16:creationId xmlns:a16="http://schemas.microsoft.com/office/drawing/2014/main" id="{FAE304ED-4AAF-7967-DE0B-A871991DE7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3279" y="2063068"/>
            <a:ext cx="274320" cy="274320"/>
          </a:xfrm>
          <a:prstGeom prst="rect">
            <a:avLst/>
          </a:prstGeom>
          <a:noFill/>
          <a:extLst>
            <a:ext uri="{909E8E84-426E-40DD-AFC4-6F175D3DCCD1}">
              <a14:hiddenFill xmlns:a14="http://schemas.microsoft.com/office/drawing/2010/main">
                <a:solidFill>
                  <a:srgbClr val="FFFFFF"/>
                </a:solidFill>
              </a14:hiddenFill>
            </a:ext>
          </a:extLst>
        </p:spPr>
      </p:pic>
      <p:grpSp>
        <p:nvGrpSpPr>
          <p:cNvPr id="282" name="Group 281">
            <a:extLst>
              <a:ext uri="{FF2B5EF4-FFF2-40B4-BE49-F238E27FC236}">
                <a16:creationId xmlns:a16="http://schemas.microsoft.com/office/drawing/2014/main" id="{C8C82834-943E-DA4D-4382-424FE4E440DD}"/>
              </a:ext>
            </a:extLst>
          </p:cNvPr>
          <p:cNvGrpSpPr/>
          <p:nvPr/>
        </p:nvGrpSpPr>
        <p:grpSpPr>
          <a:xfrm>
            <a:off x="1809374" y="2097349"/>
            <a:ext cx="228600" cy="228600"/>
            <a:chOff x="10643128" y="3176164"/>
            <a:chExt cx="228600" cy="228600"/>
          </a:xfrm>
        </p:grpSpPr>
        <p:grpSp>
          <p:nvGrpSpPr>
            <p:cNvPr id="283" name="Group 282">
              <a:extLst>
                <a:ext uri="{FF2B5EF4-FFF2-40B4-BE49-F238E27FC236}">
                  <a16:creationId xmlns:a16="http://schemas.microsoft.com/office/drawing/2014/main" id="{B1BB1D1B-FEBA-A19F-EB25-78BFF24FC2DE}"/>
                </a:ext>
              </a:extLst>
            </p:cNvPr>
            <p:cNvGrpSpPr/>
            <p:nvPr/>
          </p:nvGrpSpPr>
          <p:grpSpPr>
            <a:xfrm>
              <a:off x="10688855" y="3221890"/>
              <a:ext cx="137161" cy="137161"/>
              <a:chOff x="5562600" y="4875213"/>
              <a:chExt cx="790575" cy="790575"/>
            </a:xfrm>
          </p:grpSpPr>
          <p:sp>
            <p:nvSpPr>
              <p:cNvPr id="285" name="Freeform 55">
                <a:extLst>
                  <a:ext uri="{FF2B5EF4-FFF2-40B4-BE49-F238E27FC236}">
                    <a16:creationId xmlns:a16="http://schemas.microsoft.com/office/drawing/2014/main" id="{20586FBD-CBB5-7F42-44E5-314034C8F1C1}"/>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w="127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88" b="0"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286" name="Freeform 56">
                <a:extLst>
                  <a:ext uri="{FF2B5EF4-FFF2-40B4-BE49-F238E27FC236}">
                    <a16:creationId xmlns:a16="http://schemas.microsoft.com/office/drawing/2014/main" id="{EDB51343-CDC4-2886-94A6-A0601964DA40}"/>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w="127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88" b="0"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sp>
          <p:nvSpPr>
            <p:cNvPr id="284" name="Freeform 111">
              <a:extLst>
                <a:ext uri="{FF2B5EF4-FFF2-40B4-BE49-F238E27FC236}">
                  <a16:creationId xmlns:a16="http://schemas.microsoft.com/office/drawing/2014/main" id="{DCF730A9-A1DA-5A1F-E617-F6ED52716DED}"/>
                </a:ext>
              </a:extLst>
            </p:cNvPr>
            <p:cNvSpPr>
              <a:spLocks/>
            </p:cNvSpPr>
            <p:nvPr/>
          </p:nvSpPr>
          <p:spPr bwMode="auto">
            <a:xfrm>
              <a:off x="10643128" y="3176164"/>
              <a:ext cx="228600" cy="228600"/>
            </a:xfrm>
            <a:custGeom>
              <a:avLst/>
              <a:gdLst>
                <a:gd name="T0" fmla="*/ 333 w 345"/>
                <a:gd name="T1" fmla="*/ 20 h 342"/>
                <a:gd name="T2" fmla="*/ 326 w 345"/>
                <a:gd name="T3" fmla="*/ 25 h 342"/>
                <a:gd name="T4" fmla="*/ 318 w 345"/>
                <a:gd name="T5" fmla="*/ 82 h 342"/>
                <a:gd name="T6" fmla="*/ 295 w 345"/>
                <a:gd name="T7" fmla="*/ 52 h 342"/>
                <a:gd name="T8" fmla="*/ 268 w 345"/>
                <a:gd name="T9" fmla="*/ 29 h 342"/>
                <a:gd name="T10" fmla="*/ 247 w 345"/>
                <a:gd name="T11" fmla="*/ 16 h 342"/>
                <a:gd name="T12" fmla="*/ 198 w 345"/>
                <a:gd name="T13" fmla="*/ 1 h 342"/>
                <a:gd name="T14" fmla="*/ 149 w 345"/>
                <a:gd name="T15" fmla="*/ 1 h 342"/>
                <a:gd name="T16" fmla="*/ 115 w 345"/>
                <a:gd name="T17" fmla="*/ 9 h 342"/>
                <a:gd name="T18" fmla="*/ 71 w 345"/>
                <a:gd name="T19" fmla="*/ 32 h 342"/>
                <a:gd name="T20" fmla="*/ 35 w 345"/>
                <a:gd name="T21" fmla="*/ 67 h 342"/>
                <a:gd name="T22" fmla="*/ 17 w 345"/>
                <a:gd name="T23" fmla="*/ 96 h 342"/>
                <a:gd name="T24" fmla="*/ 2 w 345"/>
                <a:gd name="T25" fmla="*/ 145 h 342"/>
                <a:gd name="T26" fmla="*/ 2 w 345"/>
                <a:gd name="T27" fmla="*/ 194 h 342"/>
                <a:gd name="T28" fmla="*/ 16 w 345"/>
                <a:gd name="T29" fmla="*/ 243 h 342"/>
                <a:gd name="T30" fmla="*/ 43 w 345"/>
                <a:gd name="T31" fmla="*/ 285 h 342"/>
                <a:gd name="T32" fmla="*/ 82 w 345"/>
                <a:gd name="T33" fmla="*/ 317 h 342"/>
                <a:gd name="T34" fmla="*/ 115 w 345"/>
                <a:gd name="T35" fmla="*/ 333 h 342"/>
                <a:gd name="T36" fmla="*/ 172 w 345"/>
                <a:gd name="T37" fmla="*/ 342 h 342"/>
                <a:gd name="T38" fmla="*/ 196 w 345"/>
                <a:gd name="T39" fmla="*/ 341 h 342"/>
                <a:gd name="T40" fmla="*/ 231 w 345"/>
                <a:gd name="T41" fmla="*/ 332 h 342"/>
                <a:gd name="T42" fmla="*/ 263 w 345"/>
                <a:gd name="T43" fmla="*/ 317 h 342"/>
                <a:gd name="T44" fmla="*/ 291 w 345"/>
                <a:gd name="T45" fmla="*/ 294 h 342"/>
                <a:gd name="T46" fmla="*/ 314 w 345"/>
                <a:gd name="T47" fmla="*/ 267 h 342"/>
                <a:gd name="T48" fmla="*/ 326 w 345"/>
                <a:gd name="T49" fmla="*/ 246 h 342"/>
                <a:gd name="T50" fmla="*/ 325 w 345"/>
                <a:gd name="T51" fmla="*/ 235 h 342"/>
                <a:gd name="T52" fmla="*/ 318 w 345"/>
                <a:gd name="T53" fmla="*/ 231 h 342"/>
                <a:gd name="T54" fmla="*/ 310 w 345"/>
                <a:gd name="T55" fmla="*/ 233 h 342"/>
                <a:gd name="T56" fmla="*/ 301 w 345"/>
                <a:gd name="T57" fmla="*/ 251 h 342"/>
                <a:gd name="T58" fmla="*/ 271 w 345"/>
                <a:gd name="T59" fmla="*/ 285 h 342"/>
                <a:gd name="T60" fmla="*/ 235 w 345"/>
                <a:gd name="T61" fmla="*/ 309 h 342"/>
                <a:gd name="T62" fmla="*/ 193 w 345"/>
                <a:gd name="T63" fmla="*/ 321 h 342"/>
                <a:gd name="T64" fmla="*/ 149 w 345"/>
                <a:gd name="T65" fmla="*/ 321 h 342"/>
                <a:gd name="T66" fmla="*/ 106 w 345"/>
                <a:gd name="T67" fmla="*/ 307 h 342"/>
                <a:gd name="T68" fmla="*/ 80 w 345"/>
                <a:gd name="T69" fmla="*/ 291 h 342"/>
                <a:gd name="T70" fmla="*/ 49 w 345"/>
                <a:gd name="T71" fmla="*/ 259 h 342"/>
                <a:gd name="T72" fmla="*/ 29 w 345"/>
                <a:gd name="T73" fmla="*/ 220 h 342"/>
                <a:gd name="T74" fmla="*/ 21 w 345"/>
                <a:gd name="T75" fmla="*/ 178 h 342"/>
                <a:gd name="T76" fmla="*/ 25 w 345"/>
                <a:gd name="T77" fmla="*/ 134 h 342"/>
                <a:gd name="T78" fmla="*/ 36 w 345"/>
                <a:gd name="T79" fmla="*/ 104 h 342"/>
                <a:gd name="T80" fmla="*/ 61 w 345"/>
                <a:gd name="T81" fmla="*/ 67 h 342"/>
                <a:gd name="T82" fmla="*/ 95 w 345"/>
                <a:gd name="T83" fmla="*/ 40 h 342"/>
                <a:gd name="T84" fmla="*/ 135 w 345"/>
                <a:gd name="T85" fmla="*/ 24 h 342"/>
                <a:gd name="T86" fmla="*/ 180 w 345"/>
                <a:gd name="T87" fmla="*/ 20 h 342"/>
                <a:gd name="T88" fmla="*/ 223 w 345"/>
                <a:gd name="T89" fmla="*/ 29 h 342"/>
                <a:gd name="T90" fmla="*/ 248 w 345"/>
                <a:gd name="T91" fmla="*/ 40 h 342"/>
                <a:gd name="T92" fmla="*/ 275 w 345"/>
                <a:gd name="T93" fmla="*/ 60 h 342"/>
                <a:gd name="T94" fmla="*/ 297 w 345"/>
                <a:gd name="T95" fmla="*/ 86 h 342"/>
                <a:gd name="T96" fmla="*/ 248 w 345"/>
                <a:gd name="T97" fmla="*/ 87 h 342"/>
                <a:gd name="T98" fmla="*/ 240 w 345"/>
                <a:gd name="T99" fmla="*/ 90 h 342"/>
                <a:gd name="T100" fmla="*/ 236 w 345"/>
                <a:gd name="T101" fmla="*/ 96 h 342"/>
                <a:gd name="T102" fmla="*/ 239 w 345"/>
                <a:gd name="T103" fmla="*/ 103 h 342"/>
                <a:gd name="T104" fmla="*/ 323 w 345"/>
                <a:gd name="T105" fmla="*/ 118 h 342"/>
                <a:gd name="T106" fmla="*/ 330 w 345"/>
                <a:gd name="T107" fmla="*/ 117 h 342"/>
                <a:gd name="T108" fmla="*/ 334 w 345"/>
                <a:gd name="T109" fmla="*/ 110 h 342"/>
                <a:gd name="T110" fmla="*/ 345 w 345"/>
                <a:gd name="T111" fmla="*/ 28 h 342"/>
                <a:gd name="T112" fmla="*/ 337 w 345"/>
                <a:gd name="T113" fmla="*/ 2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342">
                  <a:moveTo>
                    <a:pt x="337" y="20"/>
                  </a:moveTo>
                  <a:lnTo>
                    <a:pt x="337" y="20"/>
                  </a:lnTo>
                  <a:lnTo>
                    <a:pt x="333" y="20"/>
                  </a:lnTo>
                  <a:lnTo>
                    <a:pt x="329" y="22"/>
                  </a:lnTo>
                  <a:lnTo>
                    <a:pt x="329" y="22"/>
                  </a:lnTo>
                  <a:lnTo>
                    <a:pt x="326" y="25"/>
                  </a:lnTo>
                  <a:lnTo>
                    <a:pt x="325" y="29"/>
                  </a:lnTo>
                  <a:lnTo>
                    <a:pt x="318" y="82"/>
                  </a:lnTo>
                  <a:lnTo>
                    <a:pt x="318" y="82"/>
                  </a:lnTo>
                  <a:lnTo>
                    <a:pt x="311" y="71"/>
                  </a:lnTo>
                  <a:lnTo>
                    <a:pt x="303" y="61"/>
                  </a:lnTo>
                  <a:lnTo>
                    <a:pt x="295" y="52"/>
                  </a:lnTo>
                  <a:lnTo>
                    <a:pt x="287" y="44"/>
                  </a:lnTo>
                  <a:lnTo>
                    <a:pt x="278" y="36"/>
                  </a:lnTo>
                  <a:lnTo>
                    <a:pt x="268" y="29"/>
                  </a:lnTo>
                  <a:lnTo>
                    <a:pt x="258" y="22"/>
                  </a:lnTo>
                  <a:lnTo>
                    <a:pt x="247" y="16"/>
                  </a:lnTo>
                  <a:lnTo>
                    <a:pt x="247" y="16"/>
                  </a:lnTo>
                  <a:lnTo>
                    <a:pt x="231" y="9"/>
                  </a:lnTo>
                  <a:lnTo>
                    <a:pt x="215" y="5"/>
                  </a:lnTo>
                  <a:lnTo>
                    <a:pt x="198" y="1"/>
                  </a:lnTo>
                  <a:lnTo>
                    <a:pt x="181" y="0"/>
                  </a:lnTo>
                  <a:lnTo>
                    <a:pt x="165" y="0"/>
                  </a:lnTo>
                  <a:lnTo>
                    <a:pt x="149" y="1"/>
                  </a:lnTo>
                  <a:lnTo>
                    <a:pt x="131" y="4"/>
                  </a:lnTo>
                  <a:lnTo>
                    <a:pt x="115" y="9"/>
                  </a:lnTo>
                  <a:lnTo>
                    <a:pt x="115" y="9"/>
                  </a:lnTo>
                  <a:lnTo>
                    <a:pt x="99" y="16"/>
                  </a:lnTo>
                  <a:lnTo>
                    <a:pt x="84" y="22"/>
                  </a:lnTo>
                  <a:lnTo>
                    <a:pt x="71" y="32"/>
                  </a:lnTo>
                  <a:lnTo>
                    <a:pt x="57" y="43"/>
                  </a:lnTo>
                  <a:lnTo>
                    <a:pt x="45" y="55"/>
                  </a:lnTo>
                  <a:lnTo>
                    <a:pt x="35" y="67"/>
                  </a:lnTo>
                  <a:lnTo>
                    <a:pt x="25" y="82"/>
                  </a:lnTo>
                  <a:lnTo>
                    <a:pt x="17" y="96"/>
                  </a:lnTo>
                  <a:lnTo>
                    <a:pt x="17" y="96"/>
                  </a:lnTo>
                  <a:lnTo>
                    <a:pt x="10" y="113"/>
                  </a:lnTo>
                  <a:lnTo>
                    <a:pt x="5" y="129"/>
                  </a:lnTo>
                  <a:lnTo>
                    <a:pt x="2" y="145"/>
                  </a:lnTo>
                  <a:lnTo>
                    <a:pt x="0" y="162"/>
                  </a:lnTo>
                  <a:lnTo>
                    <a:pt x="0" y="178"/>
                  </a:lnTo>
                  <a:lnTo>
                    <a:pt x="2" y="194"/>
                  </a:lnTo>
                  <a:lnTo>
                    <a:pt x="5" y="212"/>
                  </a:lnTo>
                  <a:lnTo>
                    <a:pt x="9" y="227"/>
                  </a:lnTo>
                  <a:lnTo>
                    <a:pt x="16" y="243"/>
                  </a:lnTo>
                  <a:lnTo>
                    <a:pt x="24" y="258"/>
                  </a:lnTo>
                  <a:lnTo>
                    <a:pt x="32" y="271"/>
                  </a:lnTo>
                  <a:lnTo>
                    <a:pt x="43" y="285"/>
                  </a:lnTo>
                  <a:lnTo>
                    <a:pt x="55" y="297"/>
                  </a:lnTo>
                  <a:lnTo>
                    <a:pt x="67" y="307"/>
                  </a:lnTo>
                  <a:lnTo>
                    <a:pt x="82" y="317"/>
                  </a:lnTo>
                  <a:lnTo>
                    <a:pt x="96" y="325"/>
                  </a:lnTo>
                  <a:lnTo>
                    <a:pt x="96" y="325"/>
                  </a:lnTo>
                  <a:lnTo>
                    <a:pt x="115" y="333"/>
                  </a:lnTo>
                  <a:lnTo>
                    <a:pt x="133" y="338"/>
                  </a:lnTo>
                  <a:lnTo>
                    <a:pt x="151" y="341"/>
                  </a:lnTo>
                  <a:lnTo>
                    <a:pt x="172" y="342"/>
                  </a:lnTo>
                  <a:lnTo>
                    <a:pt x="172" y="342"/>
                  </a:lnTo>
                  <a:lnTo>
                    <a:pt x="184" y="342"/>
                  </a:lnTo>
                  <a:lnTo>
                    <a:pt x="196" y="341"/>
                  </a:lnTo>
                  <a:lnTo>
                    <a:pt x="208" y="338"/>
                  </a:lnTo>
                  <a:lnTo>
                    <a:pt x="219" y="336"/>
                  </a:lnTo>
                  <a:lnTo>
                    <a:pt x="231" y="332"/>
                  </a:lnTo>
                  <a:lnTo>
                    <a:pt x="241" y="328"/>
                  </a:lnTo>
                  <a:lnTo>
                    <a:pt x="252" y="322"/>
                  </a:lnTo>
                  <a:lnTo>
                    <a:pt x="263" y="317"/>
                  </a:lnTo>
                  <a:lnTo>
                    <a:pt x="272" y="310"/>
                  </a:lnTo>
                  <a:lnTo>
                    <a:pt x="282" y="302"/>
                  </a:lnTo>
                  <a:lnTo>
                    <a:pt x="291" y="294"/>
                  </a:lnTo>
                  <a:lnTo>
                    <a:pt x="299" y="286"/>
                  </a:lnTo>
                  <a:lnTo>
                    <a:pt x="307" y="276"/>
                  </a:lnTo>
                  <a:lnTo>
                    <a:pt x="314" y="267"/>
                  </a:lnTo>
                  <a:lnTo>
                    <a:pt x="321" y="256"/>
                  </a:lnTo>
                  <a:lnTo>
                    <a:pt x="326" y="246"/>
                  </a:lnTo>
                  <a:lnTo>
                    <a:pt x="326" y="246"/>
                  </a:lnTo>
                  <a:lnTo>
                    <a:pt x="327" y="242"/>
                  </a:lnTo>
                  <a:lnTo>
                    <a:pt x="326" y="238"/>
                  </a:lnTo>
                  <a:lnTo>
                    <a:pt x="325" y="235"/>
                  </a:lnTo>
                  <a:lnTo>
                    <a:pt x="321" y="232"/>
                  </a:lnTo>
                  <a:lnTo>
                    <a:pt x="321" y="232"/>
                  </a:lnTo>
                  <a:lnTo>
                    <a:pt x="318" y="231"/>
                  </a:lnTo>
                  <a:lnTo>
                    <a:pt x="314" y="232"/>
                  </a:lnTo>
                  <a:lnTo>
                    <a:pt x="314" y="232"/>
                  </a:lnTo>
                  <a:lnTo>
                    <a:pt x="310" y="233"/>
                  </a:lnTo>
                  <a:lnTo>
                    <a:pt x="307" y="236"/>
                  </a:lnTo>
                  <a:lnTo>
                    <a:pt x="307" y="236"/>
                  </a:lnTo>
                  <a:lnTo>
                    <a:pt x="301" y="251"/>
                  </a:lnTo>
                  <a:lnTo>
                    <a:pt x="291" y="263"/>
                  </a:lnTo>
                  <a:lnTo>
                    <a:pt x="282" y="274"/>
                  </a:lnTo>
                  <a:lnTo>
                    <a:pt x="271" y="285"/>
                  </a:lnTo>
                  <a:lnTo>
                    <a:pt x="260" y="294"/>
                  </a:lnTo>
                  <a:lnTo>
                    <a:pt x="248" y="302"/>
                  </a:lnTo>
                  <a:lnTo>
                    <a:pt x="235" y="309"/>
                  </a:lnTo>
                  <a:lnTo>
                    <a:pt x="221" y="314"/>
                  </a:lnTo>
                  <a:lnTo>
                    <a:pt x="208" y="318"/>
                  </a:lnTo>
                  <a:lnTo>
                    <a:pt x="193" y="321"/>
                  </a:lnTo>
                  <a:lnTo>
                    <a:pt x="178" y="322"/>
                  </a:lnTo>
                  <a:lnTo>
                    <a:pt x="164" y="322"/>
                  </a:lnTo>
                  <a:lnTo>
                    <a:pt x="149" y="321"/>
                  </a:lnTo>
                  <a:lnTo>
                    <a:pt x="134" y="318"/>
                  </a:lnTo>
                  <a:lnTo>
                    <a:pt x="121" y="313"/>
                  </a:lnTo>
                  <a:lnTo>
                    <a:pt x="106" y="307"/>
                  </a:lnTo>
                  <a:lnTo>
                    <a:pt x="106" y="307"/>
                  </a:lnTo>
                  <a:lnTo>
                    <a:pt x="92" y="299"/>
                  </a:lnTo>
                  <a:lnTo>
                    <a:pt x="80" y="291"/>
                  </a:lnTo>
                  <a:lnTo>
                    <a:pt x="68" y="282"/>
                  </a:lnTo>
                  <a:lnTo>
                    <a:pt x="57" y="271"/>
                  </a:lnTo>
                  <a:lnTo>
                    <a:pt x="49" y="259"/>
                  </a:lnTo>
                  <a:lnTo>
                    <a:pt x="41" y="247"/>
                  </a:lnTo>
                  <a:lnTo>
                    <a:pt x="35" y="233"/>
                  </a:lnTo>
                  <a:lnTo>
                    <a:pt x="29" y="220"/>
                  </a:lnTo>
                  <a:lnTo>
                    <a:pt x="25" y="207"/>
                  </a:lnTo>
                  <a:lnTo>
                    <a:pt x="22" y="192"/>
                  </a:lnTo>
                  <a:lnTo>
                    <a:pt x="21" y="178"/>
                  </a:lnTo>
                  <a:lnTo>
                    <a:pt x="21" y="164"/>
                  </a:lnTo>
                  <a:lnTo>
                    <a:pt x="22" y="149"/>
                  </a:lnTo>
                  <a:lnTo>
                    <a:pt x="25" y="134"/>
                  </a:lnTo>
                  <a:lnTo>
                    <a:pt x="29" y="119"/>
                  </a:lnTo>
                  <a:lnTo>
                    <a:pt x="36" y="104"/>
                  </a:lnTo>
                  <a:lnTo>
                    <a:pt x="36" y="104"/>
                  </a:lnTo>
                  <a:lnTo>
                    <a:pt x="43" y="91"/>
                  </a:lnTo>
                  <a:lnTo>
                    <a:pt x="52" y="79"/>
                  </a:lnTo>
                  <a:lnTo>
                    <a:pt x="61" y="67"/>
                  </a:lnTo>
                  <a:lnTo>
                    <a:pt x="72" y="57"/>
                  </a:lnTo>
                  <a:lnTo>
                    <a:pt x="83" y="48"/>
                  </a:lnTo>
                  <a:lnTo>
                    <a:pt x="95" y="40"/>
                  </a:lnTo>
                  <a:lnTo>
                    <a:pt x="108" y="33"/>
                  </a:lnTo>
                  <a:lnTo>
                    <a:pt x="122" y="28"/>
                  </a:lnTo>
                  <a:lnTo>
                    <a:pt x="135" y="24"/>
                  </a:lnTo>
                  <a:lnTo>
                    <a:pt x="150" y="21"/>
                  </a:lnTo>
                  <a:lnTo>
                    <a:pt x="165" y="20"/>
                  </a:lnTo>
                  <a:lnTo>
                    <a:pt x="180" y="20"/>
                  </a:lnTo>
                  <a:lnTo>
                    <a:pt x="194" y="21"/>
                  </a:lnTo>
                  <a:lnTo>
                    <a:pt x="209" y="24"/>
                  </a:lnTo>
                  <a:lnTo>
                    <a:pt x="223" y="29"/>
                  </a:lnTo>
                  <a:lnTo>
                    <a:pt x="237" y="35"/>
                  </a:lnTo>
                  <a:lnTo>
                    <a:pt x="237" y="35"/>
                  </a:lnTo>
                  <a:lnTo>
                    <a:pt x="248" y="40"/>
                  </a:lnTo>
                  <a:lnTo>
                    <a:pt x="258" y="45"/>
                  </a:lnTo>
                  <a:lnTo>
                    <a:pt x="266" y="52"/>
                  </a:lnTo>
                  <a:lnTo>
                    <a:pt x="275" y="60"/>
                  </a:lnTo>
                  <a:lnTo>
                    <a:pt x="282" y="68"/>
                  </a:lnTo>
                  <a:lnTo>
                    <a:pt x="290" y="76"/>
                  </a:lnTo>
                  <a:lnTo>
                    <a:pt x="297" y="86"/>
                  </a:lnTo>
                  <a:lnTo>
                    <a:pt x="302" y="95"/>
                  </a:lnTo>
                  <a:lnTo>
                    <a:pt x="248" y="87"/>
                  </a:lnTo>
                  <a:lnTo>
                    <a:pt x="248" y="87"/>
                  </a:lnTo>
                  <a:lnTo>
                    <a:pt x="244" y="88"/>
                  </a:lnTo>
                  <a:lnTo>
                    <a:pt x="240" y="90"/>
                  </a:lnTo>
                  <a:lnTo>
                    <a:pt x="240" y="90"/>
                  </a:lnTo>
                  <a:lnTo>
                    <a:pt x="237" y="92"/>
                  </a:lnTo>
                  <a:lnTo>
                    <a:pt x="236" y="96"/>
                  </a:lnTo>
                  <a:lnTo>
                    <a:pt x="236" y="96"/>
                  </a:lnTo>
                  <a:lnTo>
                    <a:pt x="236" y="100"/>
                  </a:lnTo>
                  <a:lnTo>
                    <a:pt x="239" y="103"/>
                  </a:lnTo>
                  <a:lnTo>
                    <a:pt x="239" y="103"/>
                  </a:lnTo>
                  <a:lnTo>
                    <a:pt x="241" y="106"/>
                  </a:lnTo>
                  <a:lnTo>
                    <a:pt x="246" y="107"/>
                  </a:lnTo>
                  <a:lnTo>
                    <a:pt x="323" y="118"/>
                  </a:lnTo>
                  <a:lnTo>
                    <a:pt x="323" y="118"/>
                  </a:lnTo>
                  <a:lnTo>
                    <a:pt x="327" y="118"/>
                  </a:lnTo>
                  <a:lnTo>
                    <a:pt x="330" y="117"/>
                  </a:lnTo>
                  <a:lnTo>
                    <a:pt x="330" y="117"/>
                  </a:lnTo>
                  <a:lnTo>
                    <a:pt x="333" y="114"/>
                  </a:lnTo>
                  <a:lnTo>
                    <a:pt x="334" y="110"/>
                  </a:lnTo>
                  <a:lnTo>
                    <a:pt x="345" y="32"/>
                  </a:lnTo>
                  <a:lnTo>
                    <a:pt x="345" y="32"/>
                  </a:lnTo>
                  <a:lnTo>
                    <a:pt x="345" y="28"/>
                  </a:lnTo>
                  <a:lnTo>
                    <a:pt x="344" y="24"/>
                  </a:lnTo>
                  <a:lnTo>
                    <a:pt x="340" y="21"/>
                  </a:lnTo>
                  <a:lnTo>
                    <a:pt x="337" y="20"/>
                  </a:lnTo>
                  <a:lnTo>
                    <a:pt x="3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pic>
        <p:nvPicPr>
          <p:cNvPr id="288" name="Graphic 287" descr="Cloud">
            <a:extLst>
              <a:ext uri="{FF2B5EF4-FFF2-40B4-BE49-F238E27FC236}">
                <a16:creationId xmlns:a16="http://schemas.microsoft.com/office/drawing/2014/main" id="{F39B52DC-5B36-5AE6-672C-645F74D6C6B3}"/>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1714134" y="2738319"/>
            <a:ext cx="350421" cy="350421"/>
          </a:xfrm>
          <a:prstGeom prst="rect">
            <a:avLst/>
          </a:prstGeom>
        </p:spPr>
      </p:pic>
      <p:pic>
        <p:nvPicPr>
          <p:cNvPr id="289" name="Graphic 48" descr="Database">
            <a:extLst>
              <a:ext uri="{FF2B5EF4-FFF2-40B4-BE49-F238E27FC236}">
                <a16:creationId xmlns:a16="http://schemas.microsoft.com/office/drawing/2014/main" id="{AF9635E5-8BF1-AC9E-37D4-04D988BB29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9016" y="2715210"/>
            <a:ext cx="347098" cy="347098"/>
          </a:xfrm>
          <a:prstGeom prst="rect">
            <a:avLst/>
          </a:prstGeom>
        </p:spPr>
      </p:pic>
      <p:sp>
        <p:nvSpPr>
          <p:cNvPr id="290" name="TextBox 38">
            <a:extLst>
              <a:ext uri="{FF2B5EF4-FFF2-40B4-BE49-F238E27FC236}">
                <a16:creationId xmlns:a16="http://schemas.microsoft.com/office/drawing/2014/main" id="{F778816B-8B2A-4553-A454-8D2CC8056351}"/>
              </a:ext>
            </a:extLst>
          </p:cNvPr>
          <p:cNvSpPr txBox="1">
            <a:spLocks noChangeArrowheads="1"/>
          </p:cNvSpPr>
          <p:nvPr/>
        </p:nvSpPr>
        <p:spPr bwMode="auto">
          <a:xfrm>
            <a:off x="2385432" y="2182666"/>
            <a:ext cx="464402" cy="76944"/>
          </a:xfrm>
          <a:prstGeom prst="rect">
            <a:avLst/>
          </a:prstGeom>
          <a:noFill/>
          <a:ln>
            <a:noFill/>
          </a:ln>
        </p:spPr>
        <p:txBody>
          <a:bodyPr wrap="squar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5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REST: API}</a:t>
            </a:r>
          </a:p>
        </p:txBody>
      </p:sp>
      <p:sp>
        <p:nvSpPr>
          <p:cNvPr id="291" name="Rounded Rectangle 193">
            <a:extLst>
              <a:ext uri="{FF2B5EF4-FFF2-40B4-BE49-F238E27FC236}">
                <a16:creationId xmlns:a16="http://schemas.microsoft.com/office/drawing/2014/main" id="{47AA94FA-EE34-1A23-A1C4-09692F44BCB1}"/>
              </a:ext>
            </a:extLst>
          </p:cNvPr>
          <p:cNvSpPr/>
          <p:nvPr/>
        </p:nvSpPr>
        <p:spPr>
          <a:xfrm>
            <a:off x="1676388" y="1796028"/>
            <a:ext cx="794916" cy="611227"/>
          </a:xfrm>
          <a:prstGeom prst="roundRect">
            <a:avLst/>
          </a:prstGeom>
          <a:noFill/>
          <a:ln w="3175" cap="flat" cmpd="sng" algn="ctr">
            <a:solidFill>
              <a:srgbClr val="000000"/>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Reference Data</a:t>
            </a:r>
          </a:p>
        </p:txBody>
      </p:sp>
      <p:sp>
        <p:nvSpPr>
          <p:cNvPr id="292" name="Rounded Rectangle 193">
            <a:extLst>
              <a:ext uri="{FF2B5EF4-FFF2-40B4-BE49-F238E27FC236}">
                <a16:creationId xmlns:a16="http://schemas.microsoft.com/office/drawing/2014/main" id="{63CE395D-D784-9D8B-50D1-68EF089B9496}"/>
              </a:ext>
            </a:extLst>
          </p:cNvPr>
          <p:cNvSpPr/>
          <p:nvPr/>
        </p:nvSpPr>
        <p:spPr>
          <a:xfrm>
            <a:off x="2941808" y="2212600"/>
            <a:ext cx="1249335" cy="473387"/>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Metadata Visualization &amp; Search</a:t>
            </a:r>
          </a:p>
        </p:txBody>
      </p:sp>
      <p:sp>
        <p:nvSpPr>
          <p:cNvPr id="293" name="Rounded Rectangle 193">
            <a:extLst>
              <a:ext uri="{FF2B5EF4-FFF2-40B4-BE49-F238E27FC236}">
                <a16:creationId xmlns:a16="http://schemas.microsoft.com/office/drawing/2014/main" id="{297D5DB5-C113-58C0-F79D-8A39651C5DE4}"/>
              </a:ext>
            </a:extLst>
          </p:cNvPr>
          <p:cNvSpPr/>
          <p:nvPr/>
        </p:nvSpPr>
        <p:spPr>
          <a:xfrm>
            <a:off x="2960466" y="3205213"/>
            <a:ext cx="1249335" cy="189904"/>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Profiling</a:t>
            </a:r>
          </a:p>
        </p:txBody>
      </p:sp>
      <p:sp>
        <p:nvSpPr>
          <p:cNvPr id="295" name="Rounded Rectangle 193">
            <a:extLst>
              <a:ext uri="{FF2B5EF4-FFF2-40B4-BE49-F238E27FC236}">
                <a16:creationId xmlns:a16="http://schemas.microsoft.com/office/drawing/2014/main" id="{2E5B0486-BAD0-71E0-47F8-4E767C7CC189}"/>
              </a:ext>
            </a:extLst>
          </p:cNvPr>
          <p:cNvSpPr/>
          <p:nvPr/>
        </p:nvSpPr>
        <p:spPr>
          <a:xfrm>
            <a:off x="2953009" y="2771649"/>
            <a:ext cx="1249335" cy="339971"/>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set Registration</a:t>
            </a:r>
            <a:endParaRPr kumimoji="0" lang="en-GB"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297" name="Rounded Rectangle 193">
            <a:extLst>
              <a:ext uri="{FF2B5EF4-FFF2-40B4-BE49-F238E27FC236}">
                <a16:creationId xmlns:a16="http://schemas.microsoft.com/office/drawing/2014/main" id="{8B95846F-9E40-993B-3ACB-88867D9BB213}"/>
              </a:ext>
            </a:extLst>
          </p:cNvPr>
          <p:cNvSpPr/>
          <p:nvPr/>
        </p:nvSpPr>
        <p:spPr>
          <a:xfrm>
            <a:off x="8075684" y="2337388"/>
            <a:ext cx="1249335" cy="189904"/>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Business Glossary</a:t>
            </a:r>
          </a:p>
        </p:txBody>
      </p:sp>
      <p:sp>
        <p:nvSpPr>
          <p:cNvPr id="298" name="Rounded Rectangle 193">
            <a:extLst>
              <a:ext uri="{FF2B5EF4-FFF2-40B4-BE49-F238E27FC236}">
                <a16:creationId xmlns:a16="http://schemas.microsoft.com/office/drawing/2014/main" id="{614CE436-0DFB-9881-8648-E86645907096}"/>
              </a:ext>
            </a:extLst>
          </p:cNvPr>
          <p:cNvSpPr/>
          <p:nvPr/>
        </p:nvSpPr>
        <p:spPr>
          <a:xfrm>
            <a:off x="8094415" y="3575911"/>
            <a:ext cx="1249335" cy="189904"/>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Reference Data</a:t>
            </a:r>
          </a:p>
        </p:txBody>
      </p:sp>
      <p:sp>
        <p:nvSpPr>
          <p:cNvPr id="299" name="Rounded Rectangle 193">
            <a:extLst>
              <a:ext uri="{FF2B5EF4-FFF2-40B4-BE49-F238E27FC236}">
                <a16:creationId xmlns:a16="http://schemas.microsoft.com/office/drawing/2014/main" id="{77EA92E7-1F6F-D101-65F2-D9A1FE780936}"/>
              </a:ext>
            </a:extLst>
          </p:cNvPr>
          <p:cNvSpPr/>
          <p:nvPr/>
        </p:nvSpPr>
        <p:spPr>
          <a:xfrm>
            <a:off x="8094415" y="3266281"/>
            <a:ext cx="1249335" cy="189904"/>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b="1">
                <a:solidFill>
                  <a:prstClr val="black"/>
                </a:solidFill>
                <a:latin typeface="Open Sans" panose="020B0606030504020204" pitchFamily="34" charset="0"/>
                <a:ea typeface="Open Sans" panose="020B0606030504020204" pitchFamily="34" charset="0"/>
                <a:cs typeface="Open Sans" panose="020B0606030504020204" pitchFamily="34" charset="0"/>
                <a:sym typeface="Arial"/>
              </a:rPr>
              <a:t>Reports</a:t>
            </a: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 and KPIs</a:t>
            </a:r>
          </a:p>
        </p:txBody>
      </p:sp>
      <p:sp>
        <p:nvSpPr>
          <p:cNvPr id="300" name="Rounded Rectangle 193">
            <a:extLst>
              <a:ext uri="{FF2B5EF4-FFF2-40B4-BE49-F238E27FC236}">
                <a16:creationId xmlns:a16="http://schemas.microsoft.com/office/drawing/2014/main" id="{D86B0ED4-1F3D-AED6-7401-2DC246B744EC}"/>
              </a:ext>
            </a:extLst>
          </p:cNvPr>
          <p:cNvSpPr/>
          <p:nvPr/>
        </p:nvSpPr>
        <p:spPr>
          <a:xfrm>
            <a:off x="8078584" y="2647019"/>
            <a:ext cx="1249335" cy="189904"/>
          </a:xfrm>
          <a:prstGeom prst="roundRect">
            <a:avLst/>
          </a:prstGeom>
          <a:noFill/>
          <a:ln w="3175" cap="flat" cmpd="sng" algn="ctr">
            <a:solidFill>
              <a:srgbClr val="000000"/>
            </a:solidFill>
            <a:prstDash val="solid"/>
          </a:ln>
          <a:effectLst/>
        </p:spPr>
        <p:txBody>
          <a:bodyPr rtlCol="0" anchor="ctr"/>
          <a:lstStyle/>
          <a:p>
            <a:pPr algn="ctr"/>
            <a:r>
              <a:rPr lang="en-US" sz="800" b="1">
                <a:solidFill>
                  <a:prstClr val="black"/>
                </a:solidFill>
                <a:latin typeface="Open Sans" panose="020B0606030504020204" pitchFamily="34" charset="0"/>
                <a:ea typeface="Open Sans" panose="020B0606030504020204" pitchFamily="34" charset="0"/>
                <a:cs typeface="Open Sans" panose="020B0606030504020204" pitchFamily="34" charset="0"/>
                <a:sym typeface="Arial"/>
              </a:rPr>
              <a:t>Process/Functions</a:t>
            </a:r>
          </a:p>
        </p:txBody>
      </p:sp>
      <p:cxnSp>
        <p:nvCxnSpPr>
          <p:cNvPr id="301" name="Straight Connector 300">
            <a:extLst>
              <a:ext uri="{FF2B5EF4-FFF2-40B4-BE49-F238E27FC236}">
                <a16:creationId xmlns:a16="http://schemas.microsoft.com/office/drawing/2014/main" id="{F41292BA-97B1-DC6E-164C-EB5F2D6954CD}"/>
              </a:ext>
            </a:extLst>
          </p:cNvPr>
          <p:cNvCxnSpPr>
            <a:cxnSpLocks/>
          </p:cNvCxnSpPr>
          <p:nvPr/>
        </p:nvCxnSpPr>
        <p:spPr>
          <a:xfrm>
            <a:off x="4256253" y="2896999"/>
            <a:ext cx="258732" cy="0"/>
          </a:xfrm>
          <a:prstGeom prst="line">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cxnSp>
      <p:cxnSp>
        <p:nvCxnSpPr>
          <p:cNvPr id="305" name="Straight Connector 304">
            <a:extLst>
              <a:ext uri="{FF2B5EF4-FFF2-40B4-BE49-F238E27FC236}">
                <a16:creationId xmlns:a16="http://schemas.microsoft.com/office/drawing/2014/main" id="{26F1AE5B-756D-C0A5-276C-132CDB643457}"/>
              </a:ext>
            </a:extLst>
          </p:cNvPr>
          <p:cNvCxnSpPr>
            <a:cxnSpLocks/>
          </p:cNvCxnSpPr>
          <p:nvPr/>
        </p:nvCxnSpPr>
        <p:spPr>
          <a:xfrm>
            <a:off x="10538398" y="3657309"/>
            <a:ext cx="167320" cy="0"/>
          </a:xfrm>
          <a:prstGeom prst="line">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cxnSp>
      <p:sp>
        <p:nvSpPr>
          <p:cNvPr id="309" name="Rounded Rectangle 193">
            <a:extLst>
              <a:ext uri="{FF2B5EF4-FFF2-40B4-BE49-F238E27FC236}">
                <a16:creationId xmlns:a16="http://schemas.microsoft.com/office/drawing/2014/main" id="{6C4BC051-6D41-B6C3-5147-C744316FE382}"/>
              </a:ext>
            </a:extLst>
          </p:cNvPr>
          <p:cNvSpPr/>
          <p:nvPr/>
        </p:nvSpPr>
        <p:spPr>
          <a:xfrm>
            <a:off x="10778904" y="5775057"/>
            <a:ext cx="1023846" cy="478547"/>
          </a:xfrm>
          <a:prstGeom prst="roundRect">
            <a:avLst/>
          </a:prstGeom>
          <a:noFill/>
          <a:ln w="3175" cap="flat" cmpd="sng" algn="ctr">
            <a:solidFill>
              <a:srgbClr val="000000"/>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GB"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310" name="Rounded Rectangle 193">
            <a:extLst>
              <a:ext uri="{FF2B5EF4-FFF2-40B4-BE49-F238E27FC236}">
                <a16:creationId xmlns:a16="http://schemas.microsoft.com/office/drawing/2014/main" id="{A27E136C-E927-10E5-95D1-65F57F7E7F5C}"/>
              </a:ext>
            </a:extLst>
          </p:cNvPr>
          <p:cNvSpPr/>
          <p:nvPr/>
        </p:nvSpPr>
        <p:spPr>
          <a:xfrm>
            <a:off x="10778903" y="5084265"/>
            <a:ext cx="1023847" cy="478547"/>
          </a:xfrm>
          <a:prstGeom prst="roundRect">
            <a:avLst/>
          </a:prstGeom>
          <a:noFill/>
          <a:ln w="3175" cap="flat" cmpd="sng" algn="ctr">
            <a:solidFill>
              <a:srgbClr val="000000"/>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GB"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311" name="Rectangle: Rounded Corners 43">
            <a:extLst>
              <a:ext uri="{FF2B5EF4-FFF2-40B4-BE49-F238E27FC236}">
                <a16:creationId xmlns:a16="http://schemas.microsoft.com/office/drawing/2014/main" id="{417AEE39-E318-760C-2C6C-AFC952CF6A32}"/>
              </a:ext>
            </a:extLst>
          </p:cNvPr>
          <p:cNvSpPr/>
          <p:nvPr/>
        </p:nvSpPr>
        <p:spPr>
          <a:xfrm>
            <a:off x="1584887" y="3315325"/>
            <a:ext cx="965203" cy="719302"/>
          </a:xfrm>
          <a:prstGeom prst="roundRect">
            <a:avLst/>
          </a:prstGeom>
          <a:noFill/>
          <a:ln w="317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312" name="Rectangle 311">
            <a:extLst>
              <a:ext uri="{FF2B5EF4-FFF2-40B4-BE49-F238E27FC236}">
                <a16:creationId xmlns:a16="http://schemas.microsoft.com/office/drawing/2014/main" id="{C41EF161-6F7B-FA6F-BF7D-4306982604A6}"/>
              </a:ext>
            </a:extLst>
          </p:cNvPr>
          <p:cNvSpPr/>
          <p:nvPr/>
        </p:nvSpPr>
        <p:spPr>
          <a:xfrm>
            <a:off x="1586031" y="3316883"/>
            <a:ext cx="960268" cy="2308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9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Catalog</a:t>
            </a:r>
          </a:p>
        </p:txBody>
      </p:sp>
      <p:pic>
        <p:nvPicPr>
          <p:cNvPr id="314" name="Picture 8" descr="Calendar, schedule, scheduler, time icon - Download on Iconfinder">
            <a:extLst>
              <a:ext uri="{FF2B5EF4-FFF2-40B4-BE49-F238E27FC236}">
                <a16:creationId xmlns:a16="http://schemas.microsoft.com/office/drawing/2014/main" id="{F97BAE24-890F-8C49-A35A-0A83962AA7A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4243" y="3629124"/>
            <a:ext cx="274320" cy="274320"/>
          </a:xfrm>
          <a:prstGeom prst="rect">
            <a:avLst/>
          </a:prstGeom>
          <a:noFill/>
          <a:extLst>
            <a:ext uri="{909E8E84-426E-40DD-AFC4-6F175D3DCCD1}">
              <a14:hiddenFill xmlns:a14="http://schemas.microsoft.com/office/drawing/2010/main">
                <a:solidFill>
                  <a:srgbClr val="FFFFFF"/>
                </a:solidFill>
              </a14:hiddenFill>
            </a:ext>
          </a:extLst>
        </p:spPr>
      </p:pic>
      <p:grpSp>
        <p:nvGrpSpPr>
          <p:cNvPr id="315" name="Group 314">
            <a:extLst>
              <a:ext uri="{FF2B5EF4-FFF2-40B4-BE49-F238E27FC236}">
                <a16:creationId xmlns:a16="http://schemas.microsoft.com/office/drawing/2014/main" id="{A4E1FDAE-66F6-EA67-15EC-C6B74CACE9AA}"/>
              </a:ext>
            </a:extLst>
          </p:cNvPr>
          <p:cNvGrpSpPr/>
          <p:nvPr/>
        </p:nvGrpSpPr>
        <p:grpSpPr>
          <a:xfrm>
            <a:off x="1775266" y="3657309"/>
            <a:ext cx="228600" cy="228600"/>
            <a:chOff x="10643128" y="3176164"/>
            <a:chExt cx="228600" cy="228600"/>
          </a:xfrm>
        </p:grpSpPr>
        <p:grpSp>
          <p:nvGrpSpPr>
            <p:cNvPr id="316" name="Group 315">
              <a:extLst>
                <a:ext uri="{FF2B5EF4-FFF2-40B4-BE49-F238E27FC236}">
                  <a16:creationId xmlns:a16="http://schemas.microsoft.com/office/drawing/2014/main" id="{F098E44D-9690-3839-817A-FC96F17DD5B2}"/>
                </a:ext>
              </a:extLst>
            </p:cNvPr>
            <p:cNvGrpSpPr/>
            <p:nvPr/>
          </p:nvGrpSpPr>
          <p:grpSpPr>
            <a:xfrm>
              <a:off x="10688855" y="3221890"/>
              <a:ext cx="137161" cy="137161"/>
              <a:chOff x="5562600" y="4875213"/>
              <a:chExt cx="790575" cy="790575"/>
            </a:xfrm>
          </p:grpSpPr>
          <p:sp>
            <p:nvSpPr>
              <p:cNvPr id="318" name="Freeform 55">
                <a:extLst>
                  <a:ext uri="{FF2B5EF4-FFF2-40B4-BE49-F238E27FC236}">
                    <a16:creationId xmlns:a16="http://schemas.microsoft.com/office/drawing/2014/main" id="{9EF9D6E2-B92D-BC7B-C434-1B0B18A56EA7}"/>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w="127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88" b="0"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319" name="Freeform 56">
                <a:extLst>
                  <a:ext uri="{FF2B5EF4-FFF2-40B4-BE49-F238E27FC236}">
                    <a16:creationId xmlns:a16="http://schemas.microsoft.com/office/drawing/2014/main" id="{5328C1BE-3B18-5AB3-BB74-99E616ED4172}"/>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w="127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88" b="0"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sp>
          <p:nvSpPr>
            <p:cNvPr id="317" name="Freeform 111">
              <a:extLst>
                <a:ext uri="{FF2B5EF4-FFF2-40B4-BE49-F238E27FC236}">
                  <a16:creationId xmlns:a16="http://schemas.microsoft.com/office/drawing/2014/main" id="{7E2AC6D5-BE38-7933-EEA5-F0E9096689F1}"/>
                </a:ext>
              </a:extLst>
            </p:cNvPr>
            <p:cNvSpPr>
              <a:spLocks/>
            </p:cNvSpPr>
            <p:nvPr/>
          </p:nvSpPr>
          <p:spPr bwMode="auto">
            <a:xfrm>
              <a:off x="10643128" y="3176164"/>
              <a:ext cx="228600" cy="228600"/>
            </a:xfrm>
            <a:custGeom>
              <a:avLst/>
              <a:gdLst>
                <a:gd name="T0" fmla="*/ 333 w 345"/>
                <a:gd name="T1" fmla="*/ 20 h 342"/>
                <a:gd name="T2" fmla="*/ 326 w 345"/>
                <a:gd name="T3" fmla="*/ 25 h 342"/>
                <a:gd name="T4" fmla="*/ 318 w 345"/>
                <a:gd name="T5" fmla="*/ 82 h 342"/>
                <a:gd name="T6" fmla="*/ 295 w 345"/>
                <a:gd name="T7" fmla="*/ 52 h 342"/>
                <a:gd name="T8" fmla="*/ 268 w 345"/>
                <a:gd name="T9" fmla="*/ 29 h 342"/>
                <a:gd name="T10" fmla="*/ 247 w 345"/>
                <a:gd name="T11" fmla="*/ 16 h 342"/>
                <a:gd name="T12" fmla="*/ 198 w 345"/>
                <a:gd name="T13" fmla="*/ 1 h 342"/>
                <a:gd name="T14" fmla="*/ 149 w 345"/>
                <a:gd name="T15" fmla="*/ 1 h 342"/>
                <a:gd name="T16" fmla="*/ 115 w 345"/>
                <a:gd name="T17" fmla="*/ 9 h 342"/>
                <a:gd name="T18" fmla="*/ 71 w 345"/>
                <a:gd name="T19" fmla="*/ 32 h 342"/>
                <a:gd name="T20" fmla="*/ 35 w 345"/>
                <a:gd name="T21" fmla="*/ 67 h 342"/>
                <a:gd name="T22" fmla="*/ 17 w 345"/>
                <a:gd name="T23" fmla="*/ 96 h 342"/>
                <a:gd name="T24" fmla="*/ 2 w 345"/>
                <a:gd name="T25" fmla="*/ 145 h 342"/>
                <a:gd name="T26" fmla="*/ 2 w 345"/>
                <a:gd name="T27" fmla="*/ 194 h 342"/>
                <a:gd name="T28" fmla="*/ 16 w 345"/>
                <a:gd name="T29" fmla="*/ 243 h 342"/>
                <a:gd name="T30" fmla="*/ 43 w 345"/>
                <a:gd name="T31" fmla="*/ 285 h 342"/>
                <a:gd name="T32" fmla="*/ 82 w 345"/>
                <a:gd name="T33" fmla="*/ 317 h 342"/>
                <a:gd name="T34" fmla="*/ 115 w 345"/>
                <a:gd name="T35" fmla="*/ 333 h 342"/>
                <a:gd name="T36" fmla="*/ 172 w 345"/>
                <a:gd name="T37" fmla="*/ 342 h 342"/>
                <a:gd name="T38" fmla="*/ 196 w 345"/>
                <a:gd name="T39" fmla="*/ 341 h 342"/>
                <a:gd name="T40" fmla="*/ 231 w 345"/>
                <a:gd name="T41" fmla="*/ 332 h 342"/>
                <a:gd name="T42" fmla="*/ 263 w 345"/>
                <a:gd name="T43" fmla="*/ 317 h 342"/>
                <a:gd name="T44" fmla="*/ 291 w 345"/>
                <a:gd name="T45" fmla="*/ 294 h 342"/>
                <a:gd name="T46" fmla="*/ 314 w 345"/>
                <a:gd name="T47" fmla="*/ 267 h 342"/>
                <a:gd name="T48" fmla="*/ 326 w 345"/>
                <a:gd name="T49" fmla="*/ 246 h 342"/>
                <a:gd name="T50" fmla="*/ 325 w 345"/>
                <a:gd name="T51" fmla="*/ 235 h 342"/>
                <a:gd name="T52" fmla="*/ 318 w 345"/>
                <a:gd name="T53" fmla="*/ 231 h 342"/>
                <a:gd name="T54" fmla="*/ 310 w 345"/>
                <a:gd name="T55" fmla="*/ 233 h 342"/>
                <a:gd name="T56" fmla="*/ 301 w 345"/>
                <a:gd name="T57" fmla="*/ 251 h 342"/>
                <a:gd name="T58" fmla="*/ 271 w 345"/>
                <a:gd name="T59" fmla="*/ 285 h 342"/>
                <a:gd name="T60" fmla="*/ 235 w 345"/>
                <a:gd name="T61" fmla="*/ 309 h 342"/>
                <a:gd name="T62" fmla="*/ 193 w 345"/>
                <a:gd name="T63" fmla="*/ 321 h 342"/>
                <a:gd name="T64" fmla="*/ 149 w 345"/>
                <a:gd name="T65" fmla="*/ 321 h 342"/>
                <a:gd name="T66" fmla="*/ 106 w 345"/>
                <a:gd name="T67" fmla="*/ 307 h 342"/>
                <a:gd name="T68" fmla="*/ 80 w 345"/>
                <a:gd name="T69" fmla="*/ 291 h 342"/>
                <a:gd name="T70" fmla="*/ 49 w 345"/>
                <a:gd name="T71" fmla="*/ 259 h 342"/>
                <a:gd name="T72" fmla="*/ 29 w 345"/>
                <a:gd name="T73" fmla="*/ 220 h 342"/>
                <a:gd name="T74" fmla="*/ 21 w 345"/>
                <a:gd name="T75" fmla="*/ 178 h 342"/>
                <a:gd name="T76" fmla="*/ 25 w 345"/>
                <a:gd name="T77" fmla="*/ 134 h 342"/>
                <a:gd name="T78" fmla="*/ 36 w 345"/>
                <a:gd name="T79" fmla="*/ 104 h 342"/>
                <a:gd name="T80" fmla="*/ 61 w 345"/>
                <a:gd name="T81" fmla="*/ 67 h 342"/>
                <a:gd name="T82" fmla="*/ 95 w 345"/>
                <a:gd name="T83" fmla="*/ 40 h 342"/>
                <a:gd name="T84" fmla="*/ 135 w 345"/>
                <a:gd name="T85" fmla="*/ 24 h 342"/>
                <a:gd name="T86" fmla="*/ 180 w 345"/>
                <a:gd name="T87" fmla="*/ 20 h 342"/>
                <a:gd name="T88" fmla="*/ 223 w 345"/>
                <a:gd name="T89" fmla="*/ 29 h 342"/>
                <a:gd name="T90" fmla="*/ 248 w 345"/>
                <a:gd name="T91" fmla="*/ 40 h 342"/>
                <a:gd name="T92" fmla="*/ 275 w 345"/>
                <a:gd name="T93" fmla="*/ 60 h 342"/>
                <a:gd name="T94" fmla="*/ 297 w 345"/>
                <a:gd name="T95" fmla="*/ 86 h 342"/>
                <a:gd name="T96" fmla="*/ 248 w 345"/>
                <a:gd name="T97" fmla="*/ 87 h 342"/>
                <a:gd name="T98" fmla="*/ 240 w 345"/>
                <a:gd name="T99" fmla="*/ 90 h 342"/>
                <a:gd name="T100" fmla="*/ 236 w 345"/>
                <a:gd name="T101" fmla="*/ 96 h 342"/>
                <a:gd name="T102" fmla="*/ 239 w 345"/>
                <a:gd name="T103" fmla="*/ 103 h 342"/>
                <a:gd name="T104" fmla="*/ 323 w 345"/>
                <a:gd name="T105" fmla="*/ 118 h 342"/>
                <a:gd name="T106" fmla="*/ 330 w 345"/>
                <a:gd name="T107" fmla="*/ 117 h 342"/>
                <a:gd name="T108" fmla="*/ 334 w 345"/>
                <a:gd name="T109" fmla="*/ 110 h 342"/>
                <a:gd name="T110" fmla="*/ 345 w 345"/>
                <a:gd name="T111" fmla="*/ 28 h 342"/>
                <a:gd name="T112" fmla="*/ 337 w 345"/>
                <a:gd name="T113" fmla="*/ 2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342">
                  <a:moveTo>
                    <a:pt x="337" y="20"/>
                  </a:moveTo>
                  <a:lnTo>
                    <a:pt x="337" y="20"/>
                  </a:lnTo>
                  <a:lnTo>
                    <a:pt x="333" y="20"/>
                  </a:lnTo>
                  <a:lnTo>
                    <a:pt x="329" y="22"/>
                  </a:lnTo>
                  <a:lnTo>
                    <a:pt x="329" y="22"/>
                  </a:lnTo>
                  <a:lnTo>
                    <a:pt x="326" y="25"/>
                  </a:lnTo>
                  <a:lnTo>
                    <a:pt x="325" y="29"/>
                  </a:lnTo>
                  <a:lnTo>
                    <a:pt x="318" y="82"/>
                  </a:lnTo>
                  <a:lnTo>
                    <a:pt x="318" y="82"/>
                  </a:lnTo>
                  <a:lnTo>
                    <a:pt x="311" y="71"/>
                  </a:lnTo>
                  <a:lnTo>
                    <a:pt x="303" y="61"/>
                  </a:lnTo>
                  <a:lnTo>
                    <a:pt x="295" y="52"/>
                  </a:lnTo>
                  <a:lnTo>
                    <a:pt x="287" y="44"/>
                  </a:lnTo>
                  <a:lnTo>
                    <a:pt x="278" y="36"/>
                  </a:lnTo>
                  <a:lnTo>
                    <a:pt x="268" y="29"/>
                  </a:lnTo>
                  <a:lnTo>
                    <a:pt x="258" y="22"/>
                  </a:lnTo>
                  <a:lnTo>
                    <a:pt x="247" y="16"/>
                  </a:lnTo>
                  <a:lnTo>
                    <a:pt x="247" y="16"/>
                  </a:lnTo>
                  <a:lnTo>
                    <a:pt x="231" y="9"/>
                  </a:lnTo>
                  <a:lnTo>
                    <a:pt x="215" y="5"/>
                  </a:lnTo>
                  <a:lnTo>
                    <a:pt x="198" y="1"/>
                  </a:lnTo>
                  <a:lnTo>
                    <a:pt x="181" y="0"/>
                  </a:lnTo>
                  <a:lnTo>
                    <a:pt x="165" y="0"/>
                  </a:lnTo>
                  <a:lnTo>
                    <a:pt x="149" y="1"/>
                  </a:lnTo>
                  <a:lnTo>
                    <a:pt x="131" y="4"/>
                  </a:lnTo>
                  <a:lnTo>
                    <a:pt x="115" y="9"/>
                  </a:lnTo>
                  <a:lnTo>
                    <a:pt x="115" y="9"/>
                  </a:lnTo>
                  <a:lnTo>
                    <a:pt x="99" y="16"/>
                  </a:lnTo>
                  <a:lnTo>
                    <a:pt x="84" y="22"/>
                  </a:lnTo>
                  <a:lnTo>
                    <a:pt x="71" y="32"/>
                  </a:lnTo>
                  <a:lnTo>
                    <a:pt x="57" y="43"/>
                  </a:lnTo>
                  <a:lnTo>
                    <a:pt x="45" y="55"/>
                  </a:lnTo>
                  <a:lnTo>
                    <a:pt x="35" y="67"/>
                  </a:lnTo>
                  <a:lnTo>
                    <a:pt x="25" y="82"/>
                  </a:lnTo>
                  <a:lnTo>
                    <a:pt x="17" y="96"/>
                  </a:lnTo>
                  <a:lnTo>
                    <a:pt x="17" y="96"/>
                  </a:lnTo>
                  <a:lnTo>
                    <a:pt x="10" y="113"/>
                  </a:lnTo>
                  <a:lnTo>
                    <a:pt x="5" y="129"/>
                  </a:lnTo>
                  <a:lnTo>
                    <a:pt x="2" y="145"/>
                  </a:lnTo>
                  <a:lnTo>
                    <a:pt x="0" y="162"/>
                  </a:lnTo>
                  <a:lnTo>
                    <a:pt x="0" y="178"/>
                  </a:lnTo>
                  <a:lnTo>
                    <a:pt x="2" y="194"/>
                  </a:lnTo>
                  <a:lnTo>
                    <a:pt x="5" y="212"/>
                  </a:lnTo>
                  <a:lnTo>
                    <a:pt x="9" y="227"/>
                  </a:lnTo>
                  <a:lnTo>
                    <a:pt x="16" y="243"/>
                  </a:lnTo>
                  <a:lnTo>
                    <a:pt x="24" y="258"/>
                  </a:lnTo>
                  <a:lnTo>
                    <a:pt x="32" y="271"/>
                  </a:lnTo>
                  <a:lnTo>
                    <a:pt x="43" y="285"/>
                  </a:lnTo>
                  <a:lnTo>
                    <a:pt x="55" y="297"/>
                  </a:lnTo>
                  <a:lnTo>
                    <a:pt x="67" y="307"/>
                  </a:lnTo>
                  <a:lnTo>
                    <a:pt x="82" y="317"/>
                  </a:lnTo>
                  <a:lnTo>
                    <a:pt x="96" y="325"/>
                  </a:lnTo>
                  <a:lnTo>
                    <a:pt x="96" y="325"/>
                  </a:lnTo>
                  <a:lnTo>
                    <a:pt x="115" y="333"/>
                  </a:lnTo>
                  <a:lnTo>
                    <a:pt x="133" y="338"/>
                  </a:lnTo>
                  <a:lnTo>
                    <a:pt x="151" y="341"/>
                  </a:lnTo>
                  <a:lnTo>
                    <a:pt x="172" y="342"/>
                  </a:lnTo>
                  <a:lnTo>
                    <a:pt x="172" y="342"/>
                  </a:lnTo>
                  <a:lnTo>
                    <a:pt x="184" y="342"/>
                  </a:lnTo>
                  <a:lnTo>
                    <a:pt x="196" y="341"/>
                  </a:lnTo>
                  <a:lnTo>
                    <a:pt x="208" y="338"/>
                  </a:lnTo>
                  <a:lnTo>
                    <a:pt x="219" y="336"/>
                  </a:lnTo>
                  <a:lnTo>
                    <a:pt x="231" y="332"/>
                  </a:lnTo>
                  <a:lnTo>
                    <a:pt x="241" y="328"/>
                  </a:lnTo>
                  <a:lnTo>
                    <a:pt x="252" y="322"/>
                  </a:lnTo>
                  <a:lnTo>
                    <a:pt x="263" y="317"/>
                  </a:lnTo>
                  <a:lnTo>
                    <a:pt x="272" y="310"/>
                  </a:lnTo>
                  <a:lnTo>
                    <a:pt x="282" y="302"/>
                  </a:lnTo>
                  <a:lnTo>
                    <a:pt x="291" y="294"/>
                  </a:lnTo>
                  <a:lnTo>
                    <a:pt x="299" y="286"/>
                  </a:lnTo>
                  <a:lnTo>
                    <a:pt x="307" y="276"/>
                  </a:lnTo>
                  <a:lnTo>
                    <a:pt x="314" y="267"/>
                  </a:lnTo>
                  <a:lnTo>
                    <a:pt x="321" y="256"/>
                  </a:lnTo>
                  <a:lnTo>
                    <a:pt x="326" y="246"/>
                  </a:lnTo>
                  <a:lnTo>
                    <a:pt x="326" y="246"/>
                  </a:lnTo>
                  <a:lnTo>
                    <a:pt x="327" y="242"/>
                  </a:lnTo>
                  <a:lnTo>
                    <a:pt x="326" y="238"/>
                  </a:lnTo>
                  <a:lnTo>
                    <a:pt x="325" y="235"/>
                  </a:lnTo>
                  <a:lnTo>
                    <a:pt x="321" y="232"/>
                  </a:lnTo>
                  <a:lnTo>
                    <a:pt x="321" y="232"/>
                  </a:lnTo>
                  <a:lnTo>
                    <a:pt x="318" y="231"/>
                  </a:lnTo>
                  <a:lnTo>
                    <a:pt x="314" y="232"/>
                  </a:lnTo>
                  <a:lnTo>
                    <a:pt x="314" y="232"/>
                  </a:lnTo>
                  <a:lnTo>
                    <a:pt x="310" y="233"/>
                  </a:lnTo>
                  <a:lnTo>
                    <a:pt x="307" y="236"/>
                  </a:lnTo>
                  <a:lnTo>
                    <a:pt x="307" y="236"/>
                  </a:lnTo>
                  <a:lnTo>
                    <a:pt x="301" y="251"/>
                  </a:lnTo>
                  <a:lnTo>
                    <a:pt x="291" y="263"/>
                  </a:lnTo>
                  <a:lnTo>
                    <a:pt x="282" y="274"/>
                  </a:lnTo>
                  <a:lnTo>
                    <a:pt x="271" y="285"/>
                  </a:lnTo>
                  <a:lnTo>
                    <a:pt x="260" y="294"/>
                  </a:lnTo>
                  <a:lnTo>
                    <a:pt x="248" y="302"/>
                  </a:lnTo>
                  <a:lnTo>
                    <a:pt x="235" y="309"/>
                  </a:lnTo>
                  <a:lnTo>
                    <a:pt x="221" y="314"/>
                  </a:lnTo>
                  <a:lnTo>
                    <a:pt x="208" y="318"/>
                  </a:lnTo>
                  <a:lnTo>
                    <a:pt x="193" y="321"/>
                  </a:lnTo>
                  <a:lnTo>
                    <a:pt x="178" y="322"/>
                  </a:lnTo>
                  <a:lnTo>
                    <a:pt x="164" y="322"/>
                  </a:lnTo>
                  <a:lnTo>
                    <a:pt x="149" y="321"/>
                  </a:lnTo>
                  <a:lnTo>
                    <a:pt x="134" y="318"/>
                  </a:lnTo>
                  <a:lnTo>
                    <a:pt x="121" y="313"/>
                  </a:lnTo>
                  <a:lnTo>
                    <a:pt x="106" y="307"/>
                  </a:lnTo>
                  <a:lnTo>
                    <a:pt x="106" y="307"/>
                  </a:lnTo>
                  <a:lnTo>
                    <a:pt x="92" y="299"/>
                  </a:lnTo>
                  <a:lnTo>
                    <a:pt x="80" y="291"/>
                  </a:lnTo>
                  <a:lnTo>
                    <a:pt x="68" y="282"/>
                  </a:lnTo>
                  <a:lnTo>
                    <a:pt x="57" y="271"/>
                  </a:lnTo>
                  <a:lnTo>
                    <a:pt x="49" y="259"/>
                  </a:lnTo>
                  <a:lnTo>
                    <a:pt x="41" y="247"/>
                  </a:lnTo>
                  <a:lnTo>
                    <a:pt x="35" y="233"/>
                  </a:lnTo>
                  <a:lnTo>
                    <a:pt x="29" y="220"/>
                  </a:lnTo>
                  <a:lnTo>
                    <a:pt x="25" y="207"/>
                  </a:lnTo>
                  <a:lnTo>
                    <a:pt x="22" y="192"/>
                  </a:lnTo>
                  <a:lnTo>
                    <a:pt x="21" y="178"/>
                  </a:lnTo>
                  <a:lnTo>
                    <a:pt x="21" y="164"/>
                  </a:lnTo>
                  <a:lnTo>
                    <a:pt x="22" y="149"/>
                  </a:lnTo>
                  <a:lnTo>
                    <a:pt x="25" y="134"/>
                  </a:lnTo>
                  <a:lnTo>
                    <a:pt x="29" y="119"/>
                  </a:lnTo>
                  <a:lnTo>
                    <a:pt x="36" y="104"/>
                  </a:lnTo>
                  <a:lnTo>
                    <a:pt x="36" y="104"/>
                  </a:lnTo>
                  <a:lnTo>
                    <a:pt x="43" y="91"/>
                  </a:lnTo>
                  <a:lnTo>
                    <a:pt x="52" y="79"/>
                  </a:lnTo>
                  <a:lnTo>
                    <a:pt x="61" y="67"/>
                  </a:lnTo>
                  <a:lnTo>
                    <a:pt x="72" y="57"/>
                  </a:lnTo>
                  <a:lnTo>
                    <a:pt x="83" y="48"/>
                  </a:lnTo>
                  <a:lnTo>
                    <a:pt x="95" y="40"/>
                  </a:lnTo>
                  <a:lnTo>
                    <a:pt x="108" y="33"/>
                  </a:lnTo>
                  <a:lnTo>
                    <a:pt x="122" y="28"/>
                  </a:lnTo>
                  <a:lnTo>
                    <a:pt x="135" y="24"/>
                  </a:lnTo>
                  <a:lnTo>
                    <a:pt x="150" y="21"/>
                  </a:lnTo>
                  <a:lnTo>
                    <a:pt x="165" y="20"/>
                  </a:lnTo>
                  <a:lnTo>
                    <a:pt x="180" y="20"/>
                  </a:lnTo>
                  <a:lnTo>
                    <a:pt x="194" y="21"/>
                  </a:lnTo>
                  <a:lnTo>
                    <a:pt x="209" y="24"/>
                  </a:lnTo>
                  <a:lnTo>
                    <a:pt x="223" y="29"/>
                  </a:lnTo>
                  <a:lnTo>
                    <a:pt x="237" y="35"/>
                  </a:lnTo>
                  <a:lnTo>
                    <a:pt x="237" y="35"/>
                  </a:lnTo>
                  <a:lnTo>
                    <a:pt x="248" y="40"/>
                  </a:lnTo>
                  <a:lnTo>
                    <a:pt x="258" y="45"/>
                  </a:lnTo>
                  <a:lnTo>
                    <a:pt x="266" y="52"/>
                  </a:lnTo>
                  <a:lnTo>
                    <a:pt x="275" y="60"/>
                  </a:lnTo>
                  <a:lnTo>
                    <a:pt x="282" y="68"/>
                  </a:lnTo>
                  <a:lnTo>
                    <a:pt x="290" y="76"/>
                  </a:lnTo>
                  <a:lnTo>
                    <a:pt x="297" y="86"/>
                  </a:lnTo>
                  <a:lnTo>
                    <a:pt x="302" y="95"/>
                  </a:lnTo>
                  <a:lnTo>
                    <a:pt x="248" y="87"/>
                  </a:lnTo>
                  <a:lnTo>
                    <a:pt x="248" y="87"/>
                  </a:lnTo>
                  <a:lnTo>
                    <a:pt x="244" y="88"/>
                  </a:lnTo>
                  <a:lnTo>
                    <a:pt x="240" y="90"/>
                  </a:lnTo>
                  <a:lnTo>
                    <a:pt x="240" y="90"/>
                  </a:lnTo>
                  <a:lnTo>
                    <a:pt x="237" y="92"/>
                  </a:lnTo>
                  <a:lnTo>
                    <a:pt x="236" y="96"/>
                  </a:lnTo>
                  <a:lnTo>
                    <a:pt x="236" y="96"/>
                  </a:lnTo>
                  <a:lnTo>
                    <a:pt x="236" y="100"/>
                  </a:lnTo>
                  <a:lnTo>
                    <a:pt x="239" y="103"/>
                  </a:lnTo>
                  <a:lnTo>
                    <a:pt x="239" y="103"/>
                  </a:lnTo>
                  <a:lnTo>
                    <a:pt x="241" y="106"/>
                  </a:lnTo>
                  <a:lnTo>
                    <a:pt x="246" y="107"/>
                  </a:lnTo>
                  <a:lnTo>
                    <a:pt x="323" y="118"/>
                  </a:lnTo>
                  <a:lnTo>
                    <a:pt x="323" y="118"/>
                  </a:lnTo>
                  <a:lnTo>
                    <a:pt x="327" y="118"/>
                  </a:lnTo>
                  <a:lnTo>
                    <a:pt x="330" y="117"/>
                  </a:lnTo>
                  <a:lnTo>
                    <a:pt x="330" y="117"/>
                  </a:lnTo>
                  <a:lnTo>
                    <a:pt x="333" y="114"/>
                  </a:lnTo>
                  <a:lnTo>
                    <a:pt x="334" y="110"/>
                  </a:lnTo>
                  <a:lnTo>
                    <a:pt x="345" y="32"/>
                  </a:lnTo>
                  <a:lnTo>
                    <a:pt x="345" y="32"/>
                  </a:lnTo>
                  <a:lnTo>
                    <a:pt x="345" y="28"/>
                  </a:lnTo>
                  <a:lnTo>
                    <a:pt x="344" y="24"/>
                  </a:lnTo>
                  <a:lnTo>
                    <a:pt x="340" y="21"/>
                  </a:lnTo>
                  <a:lnTo>
                    <a:pt x="337" y="20"/>
                  </a:lnTo>
                  <a:lnTo>
                    <a:pt x="3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sp>
        <p:nvSpPr>
          <p:cNvPr id="332" name="Rounded Rectangle 193">
            <a:extLst>
              <a:ext uri="{FF2B5EF4-FFF2-40B4-BE49-F238E27FC236}">
                <a16:creationId xmlns:a16="http://schemas.microsoft.com/office/drawing/2014/main" id="{7E9256EB-F478-244A-6309-CCB7C83E0CC0}"/>
              </a:ext>
            </a:extLst>
          </p:cNvPr>
          <p:cNvSpPr/>
          <p:nvPr/>
        </p:nvSpPr>
        <p:spPr>
          <a:xfrm>
            <a:off x="2950350" y="3499404"/>
            <a:ext cx="1249335" cy="189904"/>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ample Data</a:t>
            </a:r>
          </a:p>
        </p:txBody>
      </p:sp>
      <p:sp>
        <p:nvSpPr>
          <p:cNvPr id="334" name="TextBox 333">
            <a:extLst>
              <a:ext uri="{FF2B5EF4-FFF2-40B4-BE49-F238E27FC236}">
                <a16:creationId xmlns:a16="http://schemas.microsoft.com/office/drawing/2014/main" id="{0F24BC48-543A-F7D3-BBD6-AFB358B36C6A}"/>
              </a:ext>
            </a:extLst>
          </p:cNvPr>
          <p:cNvSpPr txBox="1"/>
          <p:nvPr/>
        </p:nvSpPr>
        <p:spPr>
          <a:xfrm>
            <a:off x="6462620" y="1179099"/>
            <a:ext cx="1354784" cy="338554"/>
          </a:xfrm>
          <a:prstGeom prst="rect">
            <a:avLst/>
          </a:prstGeom>
          <a:noFill/>
        </p:spPr>
        <p:txBody>
          <a:bodyPr wrap="square" rtlCol="0" anchor="ctr">
            <a:spAutoFit/>
          </a:bodyPr>
          <a:lstStyle/>
          <a:p>
            <a:pPr marL="0" marR="0" lvl="0" indent="-119063" algn="ctr" defTabSz="1219170" rtl="0" eaLnBrk="1" fontAlgn="auto" latinLnBrk="0" hangingPunct="1">
              <a:lnSpc>
                <a:spcPct val="100000"/>
              </a:lnSpc>
              <a:spcBef>
                <a:spcPts val="0"/>
              </a:spcBef>
              <a:spcAft>
                <a:spcPts val="0"/>
              </a:spcAft>
              <a:buClr>
                <a:srgbClr val="FD0000"/>
              </a:buClr>
              <a:buSzPct val="115000"/>
              <a:buFont typeface="Arial"/>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Automated Metadata Updated</a:t>
            </a:r>
          </a:p>
        </p:txBody>
      </p:sp>
      <p:sp>
        <p:nvSpPr>
          <p:cNvPr id="336" name="TextBox 335">
            <a:extLst>
              <a:ext uri="{FF2B5EF4-FFF2-40B4-BE49-F238E27FC236}">
                <a16:creationId xmlns:a16="http://schemas.microsoft.com/office/drawing/2014/main" id="{B287A88D-1278-2003-2C18-9E67ED41FFFF}"/>
              </a:ext>
            </a:extLst>
          </p:cNvPr>
          <p:cNvSpPr txBox="1"/>
          <p:nvPr/>
        </p:nvSpPr>
        <p:spPr>
          <a:xfrm>
            <a:off x="7835359" y="1179099"/>
            <a:ext cx="1495559" cy="338554"/>
          </a:xfrm>
          <a:prstGeom prst="rect">
            <a:avLst/>
          </a:prstGeom>
          <a:noFill/>
        </p:spPr>
        <p:txBody>
          <a:bodyPr wrap="square" rtlCol="0" anchor="ctr">
            <a:spAutoFit/>
          </a:bodyPr>
          <a:lstStyle/>
          <a:p>
            <a:pPr marL="0" marR="0" lvl="0" indent="-119063" algn="ctr" defTabSz="1219170" rtl="0" eaLnBrk="1" fontAlgn="auto" latinLnBrk="0" hangingPunct="1">
              <a:lnSpc>
                <a:spcPct val="100000"/>
              </a:lnSpc>
              <a:spcBef>
                <a:spcPts val="0"/>
              </a:spcBef>
              <a:spcAft>
                <a:spcPts val="0"/>
              </a:spcAft>
              <a:buClr>
                <a:srgbClr val="FD0000"/>
              </a:buClr>
              <a:buSzPct val="115000"/>
              <a:buFont typeface="Arial"/>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Automated Governance Process</a:t>
            </a:r>
          </a:p>
        </p:txBody>
      </p:sp>
      <p:sp>
        <p:nvSpPr>
          <p:cNvPr id="338" name="Rounded Rectangle 207">
            <a:extLst>
              <a:ext uri="{FF2B5EF4-FFF2-40B4-BE49-F238E27FC236}">
                <a16:creationId xmlns:a16="http://schemas.microsoft.com/office/drawing/2014/main" id="{777E46E4-D44D-BDE4-93FC-9A3AA78055F6}"/>
              </a:ext>
            </a:extLst>
          </p:cNvPr>
          <p:cNvSpPr/>
          <p:nvPr/>
        </p:nvSpPr>
        <p:spPr>
          <a:xfrm>
            <a:off x="6684662" y="5239255"/>
            <a:ext cx="944250" cy="296194"/>
          </a:xfrm>
          <a:prstGeom prst="roundRect">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Logical Data Dictionary</a:t>
            </a:r>
          </a:p>
        </p:txBody>
      </p:sp>
      <p:sp>
        <p:nvSpPr>
          <p:cNvPr id="339" name="Rounded Rectangle 207">
            <a:extLst>
              <a:ext uri="{FF2B5EF4-FFF2-40B4-BE49-F238E27FC236}">
                <a16:creationId xmlns:a16="http://schemas.microsoft.com/office/drawing/2014/main" id="{275FC333-8CC8-EDCA-6ECE-E24EAB0A6424}"/>
              </a:ext>
            </a:extLst>
          </p:cNvPr>
          <p:cNvSpPr/>
          <p:nvPr/>
        </p:nvSpPr>
        <p:spPr>
          <a:xfrm>
            <a:off x="7752452" y="5239255"/>
            <a:ext cx="944250" cy="296194"/>
          </a:xfrm>
          <a:prstGeom prst="roundRect">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Policy and Standards</a:t>
            </a:r>
          </a:p>
        </p:txBody>
      </p:sp>
      <p:sp>
        <p:nvSpPr>
          <p:cNvPr id="49" name="TextBox 48">
            <a:extLst>
              <a:ext uri="{FF2B5EF4-FFF2-40B4-BE49-F238E27FC236}">
                <a16:creationId xmlns:a16="http://schemas.microsoft.com/office/drawing/2014/main" id="{023A42EE-01A8-B8DE-D127-C6F3202FCCD1}"/>
              </a:ext>
            </a:extLst>
          </p:cNvPr>
          <p:cNvSpPr txBox="1"/>
          <p:nvPr/>
        </p:nvSpPr>
        <p:spPr>
          <a:xfrm>
            <a:off x="9391900" y="5212261"/>
            <a:ext cx="78096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port</a:t>
            </a:r>
          </a:p>
        </p:txBody>
      </p:sp>
      <p:cxnSp>
        <p:nvCxnSpPr>
          <p:cNvPr id="341" name="Straight Arrow Connector 340">
            <a:extLst>
              <a:ext uri="{FF2B5EF4-FFF2-40B4-BE49-F238E27FC236}">
                <a16:creationId xmlns:a16="http://schemas.microsoft.com/office/drawing/2014/main" id="{3D115442-C826-216C-8C1B-52B40B7C7221}"/>
              </a:ext>
            </a:extLst>
          </p:cNvPr>
          <p:cNvCxnSpPr>
            <a:cxnSpLocks/>
            <a:stCxn id="345" idx="2"/>
            <a:endCxn id="343" idx="0"/>
          </p:cNvCxnSpPr>
          <p:nvPr/>
        </p:nvCxnSpPr>
        <p:spPr bwMode="auto">
          <a:xfrm>
            <a:off x="5220437" y="3149009"/>
            <a:ext cx="584" cy="220699"/>
          </a:xfrm>
          <a:prstGeom prst="straightConnector1">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cxnSp>
      <p:sp>
        <p:nvSpPr>
          <p:cNvPr id="343" name="Rounded Rectangle 193">
            <a:extLst>
              <a:ext uri="{FF2B5EF4-FFF2-40B4-BE49-F238E27FC236}">
                <a16:creationId xmlns:a16="http://schemas.microsoft.com/office/drawing/2014/main" id="{475FD450-E0C9-3BFD-E38E-E668ED26BA68}"/>
              </a:ext>
            </a:extLst>
          </p:cNvPr>
          <p:cNvSpPr/>
          <p:nvPr/>
        </p:nvSpPr>
        <p:spPr>
          <a:xfrm>
            <a:off x="4596353" y="3369708"/>
            <a:ext cx="1249335" cy="354932"/>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Quality Dimension</a:t>
            </a:r>
          </a:p>
        </p:txBody>
      </p:sp>
      <p:sp>
        <p:nvSpPr>
          <p:cNvPr id="344" name="Rounded Rectangle 193">
            <a:extLst>
              <a:ext uri="{FF2B5EF4-FFF2-40B4-BE49-F238E27FC236}">
                <a16:creationId xmlns:a16="http://schemas.microsoft.com/office/drawing/2014/main" id="{9474E51B-492D-0ED0-17B4-661831570F69}"/>
              </a:ext>
            </a:extLst>
          </p:cNvPr>
          <p:cNvSpPr/>
          <p:nvPr/>
        </p:nvSpPr>
        <p:spPr>
          <a:xfrm>
            <a:off x="4593992" y="2273490"/>
            <a:ext cx="1249335" cy="336916"/>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Quality Rules</a:t>
            </a:r>
          </a:p>
        </p:txBody>
      </p:sp>
      <p:sp>
        <p:nvSpPr>
          <p:cNvPr id="345" name="Rounded Rectangle 193">
            <a:extLst>
              <a:ext uri="{FF2B5EF4-FFF2-40B4-BE49-F238E27FC236}">
                <a16:creationId xmlns:a16="http://schemas.microsoft.com/office/drawing/2014/main" id="{3C2CCCA7-0C2D-A497-FDE8-16B9D347B9C7}"/>
              </a:ext>
            </a:extLst>
          </p:cNvPr>
          <p:cNvSpPr/>
          <p:nvPr/>
        </p:nvSpPr>
        <p:spPr>
          <a:xfrm>
            <a:off x="4595769" y="2824919"/>
            <a:ext cx="1249335" cy="324090"/>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Quality Metrics</a:t>
            </a:r>
          </a:p>
        </p:txBody>
      </p:sp>
      <p:cxnSp>
        <p:nvCxnSpPr>
          <p:cNvPr id="346" name="Straight Arrow Connector 345">
            <a:extLst>
              <a:ext uri="{FF2B5EF4-FFF2-40B4-BE49-F238E27FC236}">
                <a16:creationId xmlns:a16="http://schemas.microsoft.com/office/drawing/2014/main" id="{A8E5C748-8E17-7FB2-7FDA-6BEA8BD37B4E}"/>
              </a:ext>
            </a:extLst>
          </p:cNvPr>
          <p:cNvCxnSpPr>
            <a:cxnSpLocks/>
            <a:stCxn id="344" idx="2"/>
            <a:endCxn id="345" idx="0"/>
          </p:cNvCxnSpPr>
          <p:nvPr/>
        </p:nvCxnSpPr>
        <p:spPr bwMode="auto">
          <a:xfrm>
            <a:off x="5218660" y="2610406"/>
            <a:ext cx="1777" cy="214513"/>
          </a:xfrm>
          <a:prstGeom prst="straightConnector1">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cxnSp>
      <p:sp>
        <p:nvSpPr>
          <p:cNvPr id="347" name="Rectangle 346">
            <a:extLst>
              <a:ext uri="{FF2B5EF4-FFF2-40B4-BE49-F238E27FC236}">
                <a16:creationId xmlns:a16="http://schemas.microsoft.com/office/drawing/2014/main" id="{07A34A0C-3B84-359E-8A2F-DE200AA0FB7A}"/>
              </a:ext>
            </a:extLst>
          </p:cNvPr>
          <p:cNvSpPr/>
          <p:nvPr/>
        </p:nvSpPr>
        <p:spPr>
          <a:xfrm>
            <a:off x="1259211" y="4798672"/>
            <a:ext cx="1557525" cy="212892"/>
          </a:xfrm>
          <a:prstGeom prst="rect">
            <a:avLst/>
          </a:prstGeom>
          <a:noFill/>
          <a:ln w="3175">
            <a:noFill/>
            <a:prstDash val="solid"/>
            <a:miter lim="800000"/>
            <a:headEnd/>
            <a:tailEnd/>
          </a:ln>
          <a:effectLst/>
        </p:spPr>
        <p:txBody>
          <a:bodyPr lIns="0" tIns="91440" rIns="0" bIns="91440" anchor="ctr"/>
          <a:lstStyle/>
          <a:p>
            <a:pPr marL="0" marR="0" lvl="0" indent="-119063" algn="ctr" defTabSz="1219170" rtl="0" eaLnBrk="1" fontAlgn="auto" latinLnBrk="0" hangingPunct="1">
              <a:lnSpc>
                <a:spcPct val="100000"/>
              </a:lnSpc>
              <a:spcBef>
                <a:spcPts val="0"/>
              </a:spcBef>
              <a:spcAft>
                <a:spcPts val="0"/>
              </a:spcAft>
              <a:buClr>
                <a:srgbClr val="FD0000"/>
              </a:buClr>
              <a:buSzPct val="115000"/>
              <a:buFontTx/>
              <a:buNone/>
              <a:tabLst/>
              <a:defRPr/>
            </a:pPr>
            <a:r>
              <a:rPr kumimoji="0" lang="en-US" sz="9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Quality</a:t>
            </a:r>
          </a:p>
        </p:txBody>
      </p:sp>
      <p:sp>
        <p:nvSpPr>
          <p:cNvPr id="349" name="Rounded Rectangle 278">
            <a:extLst>
              <a:ext uri="{FF2B5EF4-FFF2-40B4-BE49-F238E27FC236}">
                <a16:creationId xmlns:a16="http://schemas.microsoft.com/office/drawing/2014/main" id="{7361E0CA-505B-6CCF-4FC7-06F120F080B8}"/>
              </a:ext>
            </a:extLst>
          </p:cNvPr>
          <p:cNvSpPr/>
          <p:nvPr/>
        </p:nvSpPr>
        <p:spPr>
          <a:xfrm>
            <a:off x="1734487" y="4990209"/>
            <a:ext cx="636261" cy="284373"/>
          </a:xfrm>
          <a:prstGeom prst="round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Quality Tools</a:t>
            </a:r>
          </a:p>
        </p:txBody>
      </p:sp>
      <p:sp>
        <p:nvSpPr>
          <p:cNvPr id="351" name="Rectangle: Rounded Corners 43">
            <a:extLst>
              <a:ext uri="{FF2B5EF4-FFF2-40B4-BE49-F238E27FC236}">
                <a16:creationId xmlns:a16="http://schemas.microsoft.com/office/drawing/2014/main" id="{7EA1F8AC-4C70-E8B9-ED33-837A1D16BEFD}"/>
              </a:ext>
            </a:extLst>
          </p:cNvPr>
          <p:cNvSpPr/>
          <p:nvPr/>
        </p:nvSpPr>
        <p:spPr>
          <a:xfrm>
            <a:off x="1521812" y="4759981"/>
            <a:ext cx="1038552" cy="562591"/>
          </a:xfrm>
          <a:prstGeom prst="roundRect">
            <a:avLst>
              <a:gd name="adj" fmla="val 10572"/>
            </a:avLst>
          </a:prstGeom>
          <a:noFill/>
          <a:ln w="317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cxnSp>
        <p:nvCxnSpPr>
          <p:cNvPr id="352" name="Connector: Elbow 351">
            <a:extLst>
              <a:ext uri="{FF2B5EF4-FFF2-40B4-BE49-F238E27FC236}">
                <a16:creationId xmlns:a16="http://schemas.microsoft.com/office/drawing/2014/main" id="{923F7CF4-E075-905D-D809-DD1B8653E159}"/>
              </a:ext>
            </a:extLst>
          </p:cNvPr>
          <p:cNvCxnSpPr>
            <a:cxnSpLocks/>
            <a:stCxn id="351" idx="3"/>
            <a:endCxn id="113" idx="2"/>
          </p:cNvCxnSpPr>
          <p:nvPr/>
        </p:nvCxnSpPr>
        <p:spPr>
          <a:xfrm flipV="1">
            <a:off x="2560364" y="3824472"/>
            <a:ext cx="2082765" cy="1216805"/>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5" name="Rounded Rectangle 193">
            <a:extLst>
              <a:ext uri="{FF2B5EF4-FFF2-40B4-BE49-F238E27FC236}">
                <a16:creationId xmlns:a16="http://schemas.microsoft.com/office/drawing/2014/main" id="{4A0DAA18-DACA-86C0-1413-26100F630AAE}"/>
              </a:ext>
            </a:extLst>
          </p:cNvPr>
          <p:cNvSpPr/>
          <p:nvPr/>
        </p:nvSpPr>
        <p:spPr>
          <a:xfrm>
            <a:off x="8083665" y="2956650"/>
            <a:ext cx="1249335" cy="189904"/>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Policy </a:t>
            </a:r>
            <a:r>
              <a:rPr lang="en-US" sz="800" b="1">
                <a:solidFill>
                  <a:prstClr val="black"/>
                </a:solidFill>
                <a:latin typeface="Open Sans" panose="020B0606030504020204" pitchFamily="34" charset="0"/>
                <a:ea typeface="Open Sans" panose="020B0606030504020204" pitchFamily="34" charset="0"/>
                <a:cs typeface="Open Sans" panose="020B0606030504020204" pitchFamily="34" charset="0"/>
                <a:sym typeface="Arial"/>
              </a:rPr>
              <a:t>and</a:t>
            </a: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 Standard</a:t>
            </a:r>
          </a:p>
        </p:txBody>
      </p:sp>
      <p:grpSp>
        <p:nvGrpSpPr>
          <p:cNvPr id="7" name="Group 6">
            <a:extLst>
              <a:ext uri="{FF2B5EF4-FFF2-40B4-BE49-F238E27FC236}">
                <a16:creationId xmlns:a16="http://schemas.microsoft.com/office/drawing/2014/main" id="{8379D31C-207A-F6B7-99EF-F2A40ED7C18F}"/>
              </a:ext>
            </a:extLst>
          </p:cNvPr>
          <p:cNvGrpSpPr/>
          <p:nvPr/>
        </p:nvGrpSpPr>
        <p:grpSpPr>
          <a:xfrm>
            <a:off x="9784811" y="2254861"/>
            <a:ext cx="686499" cy="363584"/>
            <a:chOff x="9544982" y="2295501"/>
            <a:chExt cx="748265" cy="363584"/>
          </a:xfrm>
          <a:noFill/>
        </p:grpSpPr>
        <p:sp>
          <p:nvSpPr>
            <p:cNvPr id="365" name="Rectangle: Rounded Corners 364">
              <a:extLst>
                <a:ext uri="{FF2B5EF4-FFF2-40B4-BE49-F238E27FC236}">
                  <a16:creationId xmlns:a16="http://schemas.microsoft.com/office/drawing/2014/main" id="{404B2F87-0404-187F-39B6-CEAC300ECD98}"/>
                </a:ext>
              </a:extLst>
            </p:cNvPr>
            <p:cNvSpPr/>
            <p:nvPr/>
          </p:nvSpPr>
          <p:spPr>
            <a:xfrm>
              <a:off x="9544982" y="2295501"/>
              <a:ext cx="718606" cy="363584"/>
            </a:xfrm>
            <a:prstGeom prst="roundRect">
              <a:avLst/>
            </a:prstGeom>
            <a:grp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9" name="TextBox 358">
              <a:extLst>
                <a:ext uri="{FF2B5EF4-FFF2-40B4-BE49-F238E27FC236}">
                  <a16:creationId xmlns:a16="http://schemas.microsoft.com/office/drawing/2014/main" id="{5970719C-77DA-EC87-9651-A2DDD99AFD3D}"/>
                </a:ext>
              </a:extLst>
            </p:cNvPr>
            <p:cNvSpPr txBox="1"/>
            <p:nvPr/>
          </p:nvSpPr>
          <p:spPr>
            <a:xfrm>
              <a:off x="9617160" y="2314987"/>
              <a:ext cx="676087" cy="338554"/>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rk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a:t>
              </a:r>
            </a:p>
          </p:txBody>
        </p:sp>
      </p:grpSp>
      <p:sp>
        <p:nvSpPr>
          <p:cNvPr id="360" name="TextBox 38">
            <a:extLst>
              <a:ext uri="{FF2B5EF4-FFF2-40B4-BE49-F238E27FC236}">
                <a16:creationId xmlns:a16="http://schemas.microsoft.com/office/drawing/2014/main" id="{4CB0A52C-D7F0-6D8C-0CFE-6925924587C0}"/>
              </a:ext>
            </a:extLst>
          </p:cNvPr>
          <p:cNvSpPr txBox="1">
            <a:spLocks noChangeArrowheads="1"/>
          </p:cNvSpPr>
          <p:nvPr/>
        </p:nvSpPr>
        <p:spPr bwMode="auto">
          <a:xfrm>
            <a:off x="2719704" y="4942234"/>
            <a:ext cx="464402" cy="92333"/>
          </a:xfrm>
          <a:prstGeom prst="rect">
            <a:avLst/>
          </a:prstGeom>
          <a:solidFill>
            <a:schemeClr val="bg1"/>
          </a:solidFill>
          <a:ln>
            <a:noFill/>
          </a:ln>
        </p:spPr>
        <p:txBody>
          <a:bodyPr wrap="squar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6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REST: API}</a:t>
            </a:r>
          </a:p>
        </p:txBody>
      </p:sp>
      <p:cxnSp>
        <p:nvCxnSpPr>
          <p:cNvPr id="361" name="Straight Connector 360">
            <a:extLst>
              <a:ext uri="{FF2B5EF4-FFF2-40B4-BE49-F238E27FC236}">
                <a16:creationId xmlns:a16="http://schemas.microsoft.com/office/drawing/2014/main" id="{48629D1C-56B4-E707-6487-0072307E7C7E}"/>
              </a:ext>
            </a:extLst>
          </p:cNvPr>
          <p:cNvCxnSpPr>
            <a:cxnSpLocks/>
          </p:cNvCxnSpPr>
          <p:nvPr/>
        </p:nvCxnSpPr>
        <p:spPr>
          <a:xfrm>
            <a:off x="2426809" y="2967034"/>
            <a:ext cx="460222" cy="0"/>
          </a:xfrm>
          <a:prstGeom prst="line">
            <a:avLst/>
          </a:prstGeom>
          <a:ln w="3175" cmpd="sng">
            <a:solidFill>
              <a:schemeClr val="tx1">
                <a:lumMod val="50000"/>
              </a:schemeClr>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362" name="TextBox 361">
            <a:extLst>
              <a:ext uri="{FF2B5EF4-FFF2-40B4-BE49-F238E27FC236}">
                <a16:creationId xmlns:a16="http://schemas.microsoft.com/office/drawing/2014/main" id="{FD0047FC-3266-D605-B139-92017407766E}"/>
              </a:ext>
            </a:extLst>
          </p:cNvPr>
          <p:cNvSpPr txBox="1"/>
          <p:nvPr/>
        </p:nvSpPr>
        <p:spPr>
          <a:xfrm>
            <a:off x="2387365" y="2817771"/>
            <a:ext cx="91281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Job Server</a:t>
            </a:r>
          </a:p>
        </p:txBody>
      </p:sp>
      <p:sp>
        <p:nvSpPr>
          <p:cNvPr id="363" name="TextBox 362">
            <a:extLst>
              <a:ext uri="{FF2B5EF4-FFF2-40B4-BE49-F238E27FC236}">
                <a16:creationId xmlns:a16="http://schemas.microsoft.com/office/drawing/2014/main" id="{80AD9889-50F4-DBA5-E800-74B4B780B85B}"/>
              </a:ext>
            </a:extLst>
          </p:cNvPr>
          <p:cNvSpPr txBox="1"/>
          <p:nvPr/>
        </p:nvSpPr>
        <p:spPr>
          <a:xfrm>
            <a:off x="2408158" y="4199774"/>
            <a:ext cx="91281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Job Server</a:t>
            </a:r>
          </a:p>
        </p:txBody>
      </p:sp>
      <p:cxnSp>
        <p:nvCxnSpPr>
          <p:cNvPr id="368" name="Straight Connector 367">
            <a:extLst>
              <a:ext uri="{FF2B5EF4-FFF2-40B4-BE49-F238E27FC236}">
                <a16:creationId xmlns:a16="http://schemas.microsoft.com/office/drawing/2014/main" id="{910B4B2B-F909-9F33-B1B6-C539F3625C85}"/>
              </a:ext>
            </a:extLst>
          </p:cNvPr>
          <p:cNvCxnSpPr>
            <a:cxnSpLocks/>
          </p:cNvCxnSpPr>
          <p:nvPr/>
        </p:nvCxnSpPr>
        <p:spPr>
          <a:xfrm flipV="1">
            <a:off x="10471310" y="2438566"/>
            <a:ext cx="248689" cy="5058"/>
          </a:xfrm>
          <a:prstGeom prst="line">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cxnSp>
      <p:cxnSp>
        <p:nvCxnSpPr>
          <p:cNvPr id="369" name="Straight Connector 368">
            <a:extLst>
              <a:ext uri="{FF2B5EF4-FFF2-40B4-BE49-F238E27FC236}">
                <a16:creationId xmlns:a16="http://schemas.microsoft.com/office/drawing/2014/main" id="{A823B318-E875-AC78-B54D-1FD5DA9E2334}"/>
              </a:ext>
            </a:extLst>
          </p:cNvPr>
          <p:cNvCxnSpPr>
            <a:cxnSpLocks/>
          </p:cNvCxnSpPr>
          <p:nvPr/>
        </p:nvCxnSpPr>
        <p:spPr>
          <a:xfrm flipV="1">
            <a:off x="9552489" y="2436653"/>
            <a:ext cx="232322" cy="3826"/>
          </a:xfrm>
          <a:prstGeom prst="line">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cxnSp>
      <p:sp>
        <p:nvSpPr>
          <p:cNvPr id="374" name="TextBox 373">
            <a:extLst>
              <a:ext uri="{FF2B5EF4-FFF2-40B4-BE49-F238E27FC236}">
                <a16:creationId xmlns:a16="http://schemas.microsoft.com/office/drawing/2014/main" id="{CDA22D1D-4938-3399-8CBB-BD4A0BA0836D}"/>
              </a:ext>
            </a:extLst>
          </p:cNvPr>
          <p:cNvSpPr txBox="1"/>
          <p:nvPr/>
        </p:nvSpPr>
        <p:spPr>
          <a:xfrm>
            <a:off x="9348870" y="1240654"/>
            <a:ext cx="1182750" cy="215444"/>
          </a:xfrm>
          <a:prstGeom prst="rect">
            <a:avLst/>
          </a:prstGeom>
          <a:noFill/>
        </p:spPr>
        <p:txBody>
          <a:bodyPr wrap="square" rtlCol="0" anchor="ctr">
            <a:spAutoFit/>
          </a:bodyPr>
          <a:lstStyle/>
          <a:p>
            <a:pPr marL="0" marR="0" lvl="0" indent="-119063" algn="ctr" defTabSz="1219170" rtl="0" eaLnBrk="1" fontAlgn="auto" latinLnBrk="0" hangingPunct="1">
              <a:lnSpc>
                <a:spcPct val="100000"/>
              </a:lnSpc>
              <a:spcBef>
                <a:spcPts val="0"/>
              </a:spcBef>
              <a:spcAft>
                <a:spcPts val="0"/>
              </a:spcAft>
              <a:buClr>
                <a:srgbClr val="FD0000"/>
              </a:buClr>
              <a:buSzPct val="115000"/>
              <a:buFont typeface="Arial"/>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Classification</a:t>
            </a:r>
          </a:p>
        </p:txBody>
      </p:sp>
      <p:sp>
        <p:nvSpPr>
          <p:cNvPr id="378" name="TextBox 377">
            <a:extLst>
              <a:ext uri="{FF2B5EF4-FFF2-40B4-BE49-F238E27FC236}">
                <a16:creationId xmlns:a16="http://schemas.microsoft.com/office/drawing/2014/main" id="{3B0D8489-D50B-18AB-E7BC-7AA15798143E}"/>
              </a:ext>
            </a:extLst>
          </p:cNvPr>
          <p:cNvSpPr txBox="1"/>
          <p:nvPr/>
        </p:nvSpPr>
        <p:spPr>
          <a:xfrm>
            <a:off x="5559067" y="1179099"/>
            <a:ext cx="885598" cy="338554"/>
          </a:xfrm>
          <a:prstGeom prst="rect">
            <a:avLst/>
          </a:prstGeom>
          <a:noFill/>
        </p:spPr>
        <p:txBody>
          <a:bodyPr wrap="square" rtlCol="0" anchor="ctr">
            <a:spAutoFit/>
          </a:bodyPr>
          <a:lstStyle/>
          <a:p>
            <a:pPr marL="0" marR="0" lvl="0" indent="-119063" algn="ctr" defTabSz="1219170" rtl="0" eaLnBrk="1" fontAlgn="auto" latinLnBrk="0" hangingPunct="1">
              <a:lnSpc>
                <a:spcPct val="100000"/>
              </a:lnSpc>
              <a:spcBef>
                <a:spcPts val="0"/>
              </a:spcBef>
              <a:spcAft>
                <a:spcPts val="0"/>
              </a:spcAft>
              <a:buClr>
                <a:srgbClr val="FD0000"/>
              </a:buClr>
              <a:buSzPct val="115000"/>
              <a:buFont typeface="Arial"/>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Access Management</a:t>
            </a:r>
          </a:p>
        </p:txBody>
      </p:sp>
      <p:grpSp>
        <p:nvGrpSpPr>
          <p:cNvPr id="2" name="Group 1">
            <a:extLst>
              <a:ext uri="{FF2B5EF4-FFF2-40B4-BE49-F238E27FC236}">
                <a16:creationId xmlns:a16="http://schemas.microsoft.com/office/drawing/2014/main" id="{D81BC769-0AA8-6C1D-1F00-09FEC9CCBAD9}"/>
              </a:ext>
            </a:extLst>
          </p:cNvPr>
          <p:cNvGrpSpPr/>
          <p:nvPr/>
        </p:nvGrpSpPr>
        <p:grpSpPr>
          <a:xfrm>
            <a:off x="10764625" y="2440479"/>
            <a:ext cx="950366" cy="1099371"/>
            <a:chOff x="10612032" y="2078855"/>
            <a:chExt cx="950366" cy="1099371"/>
          </a:xfrm>
        </p:grpSpPr>
        <p:sp>
          <p:nvSpPr>
            <p:cNvPr id="183" name="TextBox 182">
              <a:extLst>
                <a:ext uri="{FF2B5EF4-FFF2-40B4-BE49-F238E27FC236}">
                  <a16:creationId xmlns:a16="http://schemas.microsoft.com/office/drawing/2014/main" id="{4AE0FE15-3B1F-1EFB-7751-97C54EDC012E}"/>
                </a:ext>
              </a:extLst>
            </p:cNvPr>
            <p:cNvSpPr txBox="1"/>
            <p:nvPr/>
          </p:nvSpPr>
          <p:spPr>
            <a:xfrm>
              <a:off x="10625263" y="2839672"/>
              <a:ext cx="923926" cy="338554"/>
            </a:xfrm>
            <a:prstGeom prst="rect">
              <a:avLst/>
            </a:prstGeom>
            <a:noFill/>
          </p:spPr>
          <p:txBody>
            <a:bodyPr wrap="square" lIns="0" rIns="0" rtlCol="0" anchor="ctr">
              <a:spAutoFit/>
            </a:bodyPr>
            <a:lstStyle>
              <a:defPPr>
                <a:defRPr lang="en-US"/>
              </a:defPPr>
              <a:lvl1pPr algn="ctr">
                <a:defRPr sz="800" b="1">
                  <a:solidFill>
                    <a:srgbClr val="00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Metadata Consumption</a:t>
              </a:r>
            </a:p>
          </p:txBody>
        </p:sp>
        <p:grpSp>
          <p:nvGrpSpPr>
            <p:cNvPr id="184" name="Group 183">
              <a:extLst>
                <a:ext uri="{FF2B5EF4-FFF2-40B4-BE49-F238E27FC236}">
                  <a16:creationId xmlns:a16="http://schemas.microsoft.com/office/drawing/2014/main" id="{776519B8-7FBB-9823-9219-681E64D7D0CE}"/>
                </a:ext>
              </a:extLst>
            </p:cNvPr>
            <p:cNvGrpSpPr/>
            <p:nvPr/>
          </p:nvGrpSpPr>
          <p:grpSpPr>
            <a:xfrm>
              <a:off x="10612032" y="2424874"/>
              <a:ext cx="950366" cy="333744"/>
              <a:chOff x="10501090" y="1931799"/>
              <a:chExt cx="943442" cy="333744"/>
            </a:xfrm>
          </p:grpSpPr>
          <p:pic>
            <p:nvPicPr>
              <p:cNvPr id="185" name="Graphic 97" descr="Statistics">
                <a:extLst>
                  <a:ext uri="{FF2B5EF4-FFF2-40B4-BE49-F238E27FC236}">
                    <a16:creationId xmlns:a16="http://schemas.microsoft.com/office/drawing/2014/main" id="{6F74736F-A92A-2B9F-F924-E1E238D5E27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851837" y="1995143"/>
                <a:ext cx="254779" cy="254779"/>
              </a:xfrm>
              <a:prstGeom prst="rect">
                <a:avLst/>
              </a:prstGeom>
            </p:spPr>
          </p:pic>
          <p:pic>
            <p:nvPicPr>
              <p:cNvPr id="186" name="Picture 20" descr="Check out Machine Learning icon created by Angela | Machine learning, Free  icons, Projects">
                <a:extLst>
                  <a:ext uri="{FF2B5EF4-FFF2-40B4-BE49-F238E27FC236}">
                    <a16:creationId xmlns:a16="http://schemas.microsoft.com/office/drawing/2014/main" id="{F970EBA7-EB9A-B3BC-F10F-399CC901ADB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62569" y="1983580"/>
                <a:ext cx="281963" cy="281963"/>
              </a:xfrm>
              <a:prstGeom prst="rect">
                <a:avLst/>
              </a:prstGeom>
              <a:noFill/>
              <a:extLst>
                <a:ext uri="{909E8E84-426E-40DD-AFC4-6F175D3DCCD1}">
                  <a14:hiddenFill xmlns:a14="http://schemas.microsoft.com/office/drawing/2010/main">
                    <a:solidFill>
                      <a:srgbClr val="FFFFFF"/>
                    </a:solidFill>
                  </a14:hiddenFill>
                </a:ext>
              </a:extLst>
            </p:spPr>
          </p:pic>
          <p:pic>
            <p:nvPicPr>
              <p:cNvPr id="187" name="Graphic 68" descr="Right pointing backhand index">
                <a:extLst>
                  <a:ext uri="{FF2B5EF4-FFF2-40B4-BE49-F238E27FC236}">
                    <a16:creationId xmlns:a16="http://schemas.microsoft.com/office/drawing/2014/main" id="{7F8935D9-9B2A-4493-CE5B-3DE8D27C63E3}"/>
                  </a:ext>
                </a:extLst>
              </p:cNvPr>
              <p:cNvPicPr>
                <a:picLocks noChangeAspect="1"/>
              </p:cNvPicPr>
              <p:nvPr/>
            </p:nvPicPr>
            <p:blipFill>
              <a:blip r:embed="rId8">
                <a:extLst>
                  <a:ext uri="{96DAC541-7B7A-43D3-8B79-37D633B846F1}">
                    <asvg:svgBlip xmlns:asvg="http://schemas.microsoft.com/office/drawing/2016/SVG/main" r:embed="rId17"/>
                  </a:ext>
                </a:extLst>
              </a:blip>
              <a:stretch>
                <a:fillRect/>
              </a:stretch>
            </p:blipFill>
            <p:spPr>
              <a:xfrm rot="16200000">
                <a:off x="10501090" y="1931799"/>
                <a:ext cx="327025" cy="327025"/>
              </a:xfrm>
              <a:prstGeom prst="rect">
                <a:avLst/>
              </a:prstGeom>
            </p:spPr>
          </p:pic>
        </p:grpSp>
        <p:sp>
          <p:nvSpPr>
            <p:cNvPr id="238" name="TextBox 237">
              <a:extLst>
                <a:ext uri="{FF2B5EF4-FFF2-40B4-BE49-F238E27FC236}">
                  <a16:creationId xmlns:a16="http://schemas.microsoft.com/office/drawing/2014/main" id="{E316FC83-0594-5EEA-78B5-9AAA86388B62}"/>
                </a:ext>
              </a:extLst>
            </p:cNvPr>
            <p:cNvSpPr txBox="1"/>
            <p:nvPr/>
          </p:nvSpPr>
          <p:spPr>
            <a:xfrm>
              <a:off x="10682981" y="2078855"/>
              <a:ext cx="808490" cy="230832"/>
            </a:xfrm>
            <a:prstGeom prst="rect">
              <a:avLst/>
            </a:prstGeom>
            <a:noFill/>
          </p:spPr>
          <p:txBody>
            <a:bodyPr wrap="square" lIns="0" rIns="0" rtlCol="0" anchor="ctr">
              <a:spAutoFit/>
            </a:bodyPr>
            <a:lstStyle>
              <a:defPPr marR="0" lvl="0" algn="l" rtl="0">
                <a:lnSpc>
                  <a:spcPct val="100000"/>
                </a:lnSpc>
                <a:spcBef>
                  <a:spcPts val="0"/>
                </a:spcBef>
                <a:spcAft>
                  <a:spcPts val="0"/>
                </a:spcAft>
              </a:defPPr>
              <a:lvl1pPr marL="0" indent="0" algn="ctr" defTabSz="914400" eaLnBrk="1" fontAlgn="auto" latinLnBrk="0" hangingPunct="1">
                <a:buClrTx/>
                <a:buSzTx/>
                <a:buFontTx/>
                <a:buNone/>
                <a:tabLst/>
                <a:defRPr kumimoji="0" sz="900" kern="1200" spc="0" normalizeH="0" baseline="0">
                  <a:ln>
                    <a:noFill/>
                  </a:ln>
                  <a:effectLst/>
                  <a:uLnTx/>
                  <a:uFillTx/>
                  <a:latin typeface="Arial" panose="020B0604020202020204" pitchFamily="34" charset="0"/>
                  <a:ea typeface="ＭＳ Ｐゴシック" pitchFamily="34" charset="-128"/>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Consumption</a:t>
              </a:r>
            </a:p>
          </p:txBody>
        </p:sp>
      </p:grpSp>
      <p:sp>
        <p:nvSpPr>
          <p:cNvPr id="22" name="Rounded Rectangle 193">
            <a:extLst>
              <a:ext uri="{FF2B5EF4-FFF2-40B4-BE49-F238E27FC236}">
                <a16:creationId xmlns:a16="http://schemas.microsoft.com/office/drawing/2014/main" id="{4EDEF0D0-73E3-72C9-084E-EE21FC0698E9}"/>
              </a:ext>
            </a:extLst>
          </p:cNvPr>
          <p:cNvSpPr/>
          <p:nvPr/>
        </p:nvSpPr>
        <p:spPr>
          <a:xfrm>
            <a:off x="246831" y="2101641"/>
            <a:ext cx="994021" cy="611227"/>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80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ETL, API Integration, data enrichment</a:t>
            </a:r>
          </a:p>
        </p:txBody>
      </p:sp>
      <p:grpSp>
        <p:nvGrpSpPr>
          <p:cNvPr id="42" name="Group 41">
            <a:extLst>
              <a:ext uri="{FF2B5EF4-FFF2-40B4-BE49-F238E27FC236}">
                <a16:creationId xmlns:a16="http://schemas.microsoft.com/office/drawing/2014/main" id="{BE7FF341-D0C9-97BC-34FD-87C4E1809F4F}"/>
              </a:ext>
            </a:extLst>
          </p:cNvPr>
          <p:cNvGrpSpPr/>
          <p:nvPr/>
        </p:nvGrpSpPr>
        <p:grpSpPr>
          <a:xfrm>
            <a:off x="1240852" y="2206484"/>
            <a:ext cx="336302" cy="390510"/>
            <a:chOff x="1138215" y="2025492"/>
            <a:chExt cx="336302" cy="390510"/>
          </a:xfrm>
        </p:grpSpPr>
        <p:cxnSp>
          <p:nvCxnSpPr>
            <p:cNvPr id="24" name="Straight Arrow Connector 23">
              <a:extLst>
                <a:ext uri="{FF2B5EF4-FFF2-40B4-BE49-F238E27FC236}">
                  <a16:creationId xmlns:a16="http://schemas.microsoft.com/office/drawing/2014/main" id="{E40E33EE-7B76-6ABC-0852-B34404A919B5}"/>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25" name="Graphic 191" descr="Chevron arrows">
              <a:extLst>
                <a:ext uri="{FF2B5EF4-FFF2-40B4-BE49-F238E27FC236}">
                  <a16:creationId xmlns:a16="http://schemas.microsoft.com/office/drawing/2014/main" id="{D6F30D8B-B7E4-CDA4-C645-E63DB4E50A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26" name="Straight Arrow Connector 25">
              <a:extLst>
                <a:ext uri="{FF2B5EF4-FFF2-40B4-BE49-F238E27FC236}">
                  <a16:creationId xmlns:a16="http://schemas.microsoft.com/office/drawing/2014/main" id="{85E24D20-DA55-0E6E-8532-EE05A2358B9D}"/>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27" name="Graphic 191" descr="Chevron arrows">
              <a:extLst>
                <a:ext uri="{FF2B5EF4-FFF2-40B4-BE49-F238E27FC236}">
                  <a16:creationId xmlns:a16="http://schemas.microsoft.com/office/drawing/2014/main" id="{F616010B-199F-EE70-E97F-C2DBE57389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sp>
        <p:nvSpPr>
          <p:cNvPr id="200" name="TextBox 38">
            <a:extLst>
              <a:ext uri="{FF2B5EF4-FFF2-40B4-BE49-F238E27FC236}">
                <a16:creationId xmlns:a16="http://schemas.microsoft.com/office/drawing/2014/main" id="{6A4E3F0D-0119-ED98-582E-DC8D5E058DC3}"/>
              </a:ext>
            </a:extLst>
          </p:cNvPr>
          <p:cNvSpPr txBox="1">
            <a:spLocks noChangeArrowheads="1"/>
          </p:cNvSpPr>
          <p:nvPr/>
        </p:nvSpPr>
        <p:spPr bwMode="auto">
          <a:xfrm>
            <a:off x="2406114" y="3409837"/>
            <a:ext cx="464402" cy="92333"/>
          </a:xfrm>
          <a:prstGeom prst="rect">
            <a:avLst/>
          </a:prstGeom>
          <a:noFill/>
          <a:ln>
            <a:noFill/>
          </a:ln>
        </p:spPr>
        <p:txBody>
          <a:bodyPr wrap="square"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6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REST: API}</a:t>
            </a:r>
          </a:p>
        </p:txBody>
      </p:sp>
      <p:sp>
        <p:nvSpPr>
          <p:cNvPr id="48" name="Rounded Rectangle 193">
            <a:extLst>
              <a:ext uri="{FF2B5EF4-FFF2-40B4-BE49-F238E27FC236}">
                <a16:creationId xmlns:a16="http://schemas.microsoft.com/office/drawing/2014/main" id="{A37B6E9A-5BF1-32E8-DACB-1DFB2E6BAD1E}"/>
              </a:ext>
            </a:extLst>
          </p:cNvPr>
          <p:cNvSpPr/>
          <p:nvPr/>
        </p:nvSpPr>
        <p:spPr>
          <a:xfrm>
            <a:off x="3039133" y="4167166"/>
            <a:ext cx="1106226" cy="376623"/>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750" b="1">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Extraction, enrichment standardization</a:t>
            </a:r>
            <a:endParaRPr kumimoji="0" lang="en-GB" sz="75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nvGrpSpPr>
          <p:cNvPr id="50" name="Group 49">
            <a:extLst>
              <a:ext uri="{FF2B5EF4-FFF2-40B4-BE49-F238E27FC236}">
                <a16:creationId xmlns:a16="http://schemas.microsoft.com/office/drawing/2014/main" id="{D91DA5BC-7728-B2B4-9215-738037BCF393}"/>
              </a:ext>
            </a:extLst>
          </p:cNvPr>
          <p:cNvGrpSpPr/>
          <p:nvPr/>
        </p:nvGrpSpPr>
        <p:grpSpPr>
          <a:xfrm rot="5400000">
            <a:off x="3382483" y="3797368"/>
            <a:ext cx="336302" cy="390510"/>
            <a:chOff x="1138215" y="2025492"/>
            <a:chExt cx="336302" cy="390510"/>
          </a:xfrm>
        </p:grpSpPr>
        <p:cxnSp>
          <p:nvCxnSpPr>
            <p:cNvPr id="51" name="Straight Arrow Connector 50">
              <a:extLst>
                <a:ext uri="{FF2B5EF4-FFF2-40B4-BE49-F238E27FC236}">
                  <a16:creationId xmlns:a16="http://schemas.microsoft.com/office/drawing/2014/main" id="{50A28C7A-9749-A674-AAC1-D16DC17D5E71}"/>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52" name="Graphic 191" descr="Chevron arrows">
              <a:extLst>
                <a:ext uri="{FF2B5EF4-FFF2-40B4-BE49-F238E27FC236}">
                  <a16:creationId xmlns:a16="http://schemas.microsoft.com/office/drawing/2014/main" id="{5C962157-3993-2599-927D-F82F5FBBCD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53" name="Straight Arrow Connector 52">
              <a:extLst>
                <a:ext uri="{FF2B5EF4-FFF2-40B4-BE49-F238E27FC236}">
                  <a16:creationId xmlns:a16="http://schemas.microsoft.com/office/drawing/2014/main" id="{3E067958-F854-F699-457D-7112817BDC78}"/>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54" name="Graphic 191" descr="Chevron arrows">
              <a:extLst>
                <a:ext uri="{FF2B5EF4-FFF2-40B4-BE49-F238E27FC236}">
                  <a16:creationId xmlns:a16="http://schemas.microsoft.com/office/drawing/2014/main" id="{F2B34563-1C6D-FD41-79AB-1754E35F50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cxnSp>
        <p:nvCxnSpPr>
          <p:cNvPr id="57" name="Connector: Elbow 56">
            <a:extLst>
              <a:ext uri="{FF2B5EF4-FFF2-40B4-BE49-F238E27FC236}">
                <a16:creationId xmlns:a16="http://schemas.microsoft.com/office/drawing/2014/main" id="{939BFE78-9E20-E9B9-790A-5643354FC64C}"/>
              </a:ext>
            </a:extLst>
          </p:cNvPr>
          <p:cNvCxnSpPr>
            <a:cxnSpLocks/>
            <a:stCxn id="64" idx="0"/>
            <a:endCxn id="63" idx="2"/>
          </p:cNvCxnSpPr>
          <p:nvPr/>
        </p:nvCxnSpPr>
        <p:spPr>
          <a:xfrm rot="5400000" flipH="1" flipV="1">
            <a:off x="6796847" y="2827502"/>
            <a:ext cx="321593" cy="1"/>
          </a:xfrm>
          <a:prstGeom prst="bentConnector3">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D9512366-D6BF-0333-D3CD-4AEB367FA782}"/>
              </a:ext>
            </a:extLst>
          </p:cNvPr>
          <p:cNvSpPr txBox="1"/>
          <p:nvPr/>
        </p:nvSpPr>
        <p:spPr>
          <a:xfrm>
            <a:off x="6906179" y="2647603"/>
            <a:ext cx="790044" cy="369332"/>
          </a:xfrm>
          <a:prstGeom prst="rect">
            <a:avLst/>
          </a:prstGeom>
          <a:ln w="3175" cmpd="sng">
            <a:no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53565A">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Logical to technical mapping</a:t>
            </a:r>
          </a:p>
        </p:txBody>
      </p:sp>
      <p:cxnSp>
        <p:nvCxnSpPr>
          <p:cNvPr id="59" name="Straight Arrow Connector 58">
            <a:extLst>
              <a:ext uri="{FF2B5EF4-FFF2-40B4-BE49-F238E27FC236}">
                <a16:creationId xmlns:a16="http://schemas.microsoft.com/office/drawing/2014/main" id="{5E8134C1-0094-E700-147E-635F042C0716}"/>
              </a:ext>
            </a:extLst>
          </p:cNvPr>
          <p:cNvCxnSpPr>
            <a:cxnSpLocks/>
            <a:stCxn id="64" idx="2"/>
            <a:endCxn id="62" idx="0"/>
          </p:cNvCxnSpPr>
          <p:nvPr/>
        </p:nvCxnSpPr>
        <p:spPr bwMode="auto">
          <a:xfrm>
            <a:off x="6957643" y="3245824"/>
            <a:ext cx="0" cy="177871"/>
          </a:xfrm>
          <a:prstGeom prst="straightConnector1">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cxnSp>
      <p:pic>
        <p:nvPicPr>
          <p:cNvPr id="60" name="Picture 59">
            <a:extLst>
              <a:ext uri="{FF2B5EF4-FFF2-40B4-BE49-F238E27FC236}">
                <a16:creationId xmlns:a16="http://schemas.microsoft.com/office/drawing/2014/main" id="{2FBBC216-CAD2-9623-5DE2-3D0B14F8DE4E}"/>
              </a:ext>
            </a:extLst>
          </p:cNvPr>
          <p:cNvPicPr>
            <a:picLocks noChangeAspect="1"/>
          </p:cNvPicPr>
          <p:nvPr/>
        </p:nvPicPr>
        <p:blipFill>
          <a:blip r:embed="rId11"/>
          <a:stretch>
            <a:fillRect/>
          </a:stretch>
        </p:blipFill>
        <p:spPr>
          <a:xfrm>
            <a:off x="6267584" y="1990606"/>
            <a:ext cx="220787" cy="198708"/>
          </a:xfrm>
          <a:prstGeom prst="rect">
            <a:avLst/>
          </a:prstGeom>
        </p:spPr>
      </p:pic>
      <p:sp>
        <p:nvSpPr>
          <p:cNvPr id="62" name="Rounded Rectangle 193">
            <a:extLst>
              <a:ext uri="{FF2B5EF4-FFF2-40B4-BE49-F238E27FC236}">
                <a16:creationId xmlns:a16="http://schemas.microsoft.com/office/drawing/2014/main" id="{0729C070-30F6-B180-D9F3-FAE09FF4B761}"/>
              </a:ext>
            </a:extLst>
          </p:cNvPr>
          <p:cNvSpPr/>
          <p:nvPr/>
        </p:nvSpPr>
        <p:spPr>
          <a:xfrm>
            <a:off x="6342069" y="3423695"/>
            <a:ext cx="1231148" cy="259868"/>
          </a:xfrm>
          <a:prstGeom prst="roundRect">
            <a:avLst/>
          </a:prstGeom>
          <a:no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KDE Metadata</a:t>
            </a:r>
          </a:p>
        </p:txBody>
      </p:sp>
      <p:sp>
        <p:nvSpPr>
          <p:cNvPr id="63" name="Rounded Rectangle 193">
            <a:extLst>
              <a:ext uri="{FF2B5EF4-FFF2-40B4-BE49-F238E27FC236}">
                <a16:creationId xmlns:a16="http://schemas.microsoft.com/office/drawing/2014/main" id="{C60AD6AA-31A0-9AFD-A9F6-4796B996C4AB}"/>
              </a:ext>
            </a:extLst>
          </p:cNvPr>
          <p:cNvSpPr/>
          <p:nvPr/>
        </p:nvSpPr>
        <p:spPr>
          <a:xfrm>
            <a:off x="6332976" y="2288278"/>
            <a:ext cx="1249335" cy="378427"/>
          </a:xfrm>
          <a:prstGeom prst="roundRect">
            <a:avLst/>
          </a:prstGeom>
          <a:noFill/>
          <a:ln w="3175" cap="flat" cmpd="sng" algn="ctr">
            <a:solidFill>
              <a:srgbClr val="000000"/>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Dictionary / Logical Model</a:t>
            </a:r>
          </a:p>
        </p:txBody>
      </p:sp>
      <p:sp>
        <p:nvSpPr>
          <p:cNvPr id="64" name="Rounded Rectangle 193">
            <a:extLst>
              <a:ext uri="{FF2B5EF4-FFF2-40B4-BE49-F238E27FC236}">
                <a16:creationId xmlns:a16="http://schemas.microsoft.com/office/drawing/2014/main" id="{E468F2CB-A428-3B3D-2DB9-0BF369703B6B}"/>
              </a:ext>
            </a:extLst>
          </p:cNvPr>
          <p:cNvSpPr/>
          <p:nvPr/>
        </p:nvSpPr>
        <p:spPr>
          <a:xfrm>
            <a:off x="6343318" y="2988298"/>
            <a:ext cx="1228650" cy="257526"/>
          </a:xfrm>
          <a:prstGeom prst="roundRect">
            <a:avLst/>
          </a:prstGeom>
          <a:noFill/>
          <a:ln w="3175" cap="flat" cmpd="sng" algn="ctr">
            <a:solidFill>
              <a:srgbClr val="000000"/>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7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Technical Metadata</a:t>
            </a:r>
          </a:p>
        </p:txBody>
      </p:sp>
      <p:cxnSp>
        <p:nvCxnSpPr>
          <p:cNvPr id="67" name="Connector: Elbow 66">
            <a:extLst>
              <a:ext uri="{FF2B5EF4-FFF2-40B4-BE49-F238E27FC236}">
                <a16:creationId xmlns:a16="http://schemas.microsoft.com/office/drawing/2014/main" id="{4B9A9B91-DEEC-3DD4-F49C-292A7526F945}"/>
              </a:ext>
            </a:extLst>
          </p:cNvPr>
          <p:cNvCxnSpPr>
            <a:stCxn id="193" idx="3"/>
            <a:endCxn id="332" idx="1"/>
          </p:cNvCxnSpPr>
          <p:nvPr/>
        </p:nvCxnSpPr>
        <p:spPr>
          <a:xfrm flipV="1">
            <a:off x="2541526" y="3594356"/>
            <a:ext cx="408824" cy="813606"/>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4028E80B-CE86-0EEC-674A-D86FF03ECA62}"/>
              </a:ext>
            </a:extLst>
          </p:cNvPr>
          <p:cNvCxnSpPr>
            <a:cxnSpLocks/>
          </p:cNvCxnSpPr>
          <p:nvPr/>
        </p:nvCxnSpPr>
        <p:spPr>
          <a:xfrm flipV="1">
            <a:off x="7727782" y="2897072"/>
            <a:ext cx="232322" cy="3826"/>
          </a:xfrm>
          <a:prstGeom prst="line">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cxnSp>
      <p:sp>
        <p:nvSpPr>
          <p:cNvPr id="69" name="Title 2">
            <a:extLst>
              <a:ext uri="{FF2B5EF4-FFF2-40B4-BE49-F238E27FC236}">
                <a16:creationId xmlns:a16="http://schemas.microsoft.com/office/drawing/2014/main" id="{EBEAA5D7-49E0-F85C-B923-874D4E12C1DD}"/>
              </a:ext>
            </a:extLst>
          </p:cNvPr>
          <p:cNvSpPr txBox="1">
            <a:spLocks/>
          </p:cNvSpPr>
          <p:nvPr/>
        </p:nvSpPr>
        <p:spPr bwMode="gray">
          <a:xfrm>
            <a:off x="503269" y="260961"/>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sz="2400" b="0" i="0" u="none" strike="noStrike" kern="1200" cap="none" spc="0" normalizeH="0" baseline="0" noProof="0" dirty="0">
                <a:ln>
                  <a:noFill/>
                </a:ln>
                <a:solidFill>
                  <a:srgbClr val="000000"/>
                </a:solidFill>
                <a:effectLst/>
                <a:uLnTx/>
                <a:uFillTx/>
                <a:latin typeface="Open Sans" panose="020B0606030504020204" pitchFamily="34" charset="0"/>
                <a:ea typeface="Open Sans SemiBold" panose="020B0706030804020204" pitchFamily="34" charset="0"/>
                <a:cs typeface="Open Sans SemiBold" panose="020B0706030804020204" pitchFamily="34" charset="0"/>
              </a:rPr>
              <a:t>AI Agent Technical Conceptual Architecture</a:t>
            </a: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Rounded Rectangle 193">
            <a:extLst>
              <a:ext uri="{FF2B5EF4-FFF2-40B4-BE49-F238E27FC236}">
                <a16:creationId xmlns:a16="http://schemas.microsoft.com/office/drawing/2014/main" id="{7A6E15B3-331A-663F-D585-2BEDFBDF418E}"/>
              </a:ext>
            </a:extLst>
          </p:cNvPr>
          <p:cNvSpPr/>
          <p:nvPr/>
        </p:nvSpPr>
        <p:spPr>
          <a:xfrm>
            <a:off x="8066567" y="4201895"/>
            <a:ext cx="1249334" cy="330040"/>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750" b="1">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Data quality, data security, data lineage</a:t>
            </a:r>
            <a:endParaRPr kumimoji="0" lang="en-GB" sz="75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nvGrpSpPr>
          <p:cNvPr id="72" name="Group 71">
            <a:extLst>
              <a:ext uri="{FF2B5EF4-FFF2-40B4-BE49-F238E27FC236}">
                <a16:creationId xmlns:a16="http://schemas.microsoft.com/office/drawing/2014/main" id="{2B416C64-34DD-9CEF-7672-A7B107072BC6}"/>
              </a:ext>
            </a:extLst>
          </p:cNvPr>
          <p:cNvGrpSpPr/>
          <p:nvPr/>
        </p:nvGrpSpPr>
        <p:grpSpPr>
          <a:xfrm rot="5400000">
            <a:off x="8532200" y="3824925"/>
            <a:ext cx="336302" cy="390510"/>
            <a:chOff x="1138215" y="2025492"/>
            <a:chExt cx="336302" cy="390510"/>
          </a:xfrm>
        </p:grpSpPr>
        <p:cxnSp>
          <p:nvCxnSpPr>
            <p:cNvPr id="73" name="Straight Arrow Connector 72">
              <a:extLst>
                <a:ext uri="{FF2B5EF4-FFF2-40B4-BE49-F238E27FC236}">
                  <a16:creationId xmlns:a16="http://schemas.microsoft.com/office/drawing/2014/main" id="{E0833C7A-77D5-CE9F-E9D1-D919B1B7E306}"/>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74" name="Graphic 191" descr="Chevron arrows">
              <a:extLst>
                <a:ext uri="{FF2B5EF4-FFF2-40B4-BE49-F238E27FC236}">
                  <a16:creationId xmlns:a16="http://schemas.microsoft.com/office/drawing/2014/main" id="{9C363B3F-1185-76E3-30B8-AABE3ACF5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75" name="Straight Arrow Connector 74">
              <a:extLst>
                <a:ext uri="{FF2B5EF4-FFF2-40B4-BE49-F238E27FC236}">
                  <a16:creationId xmlns:a16="http://schemas.microsoft.com/office/drawing/2014/main" id="{43E6F7E2-C192-30BF-3813-2791854E0394}"/>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76" name="Graphic 191" descr="Chevron arrows">
              <a:extLst>
                <a:ext uri="{FF2B5EF4-FFF2-40B4-BE49-F238E27FC236}">
                  <a16:creationId xmlns:a16="http://schemas.microsoft.com/office/drawing/2014/main" id="{62A833EF-4AF4-0C72-6BCC-2E492EA524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sp>
        <p:nvSpPr>
          <p:cNvPr id="78" name="Rounded Rectangle 193">
            <a:extLst>
              <a:ext uri="{FF2B5EF4-FFF2-40B4-BE49-F238E27FC236}">
                <a16:creationId xmlns:a16="http://schemas.microsoft.com/office/drawing/2014/main" id="{51EB19DE-E37E-0E11-A4A7-2AF8EA162C86}"/>
              </a:ext>
            </a:extLst>
          </p:cNvPr>
          <p:cNvSpPr/>
          <p:nvPr/>
        </p:nvSpPr>
        <p:spPr>
          <a:xfrm>
            <a:off x="9714936" y="2979014"/>
            <a:ext cx="780199" cy="740649"/>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750" b="1">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hatbots, virtual assistance, dynamic pricing</a:t>
            </a:r>
            <a:endParaRPr kumimoji="0" lang="en-GB" sz="75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nvGrpSpPr>
          <p:cNvPr id="79" name="Group 78">
            <a:extLst>
              <a:ext uri="{FF2B5EF4-FFF2-40B4-BE49-F238E27FC236}">
                <a16:creationId xmlns:a16="http://schemas.microsoft.com/office/drawing/2014/main" id="{0212653F-831B-7E85-8F6D-2576B064C728}"/>
              </a:ext>
            </a:extLst>
          </p:cNvPr>
          <p:cNvGrpSpPr/>
          <p:nvPr/>
        </p:nvGrpSpPr>
        <p:grpSpPr>
          <a:xfrm rot="5400000">
            <a:off x="9914208" y="2615860"/>
            <a:ext cx="336302" cy="390510"/>
            <a:chOff x="1138215" y="2025492"/>
            <a:chExt cx="336302" cy="390510"/>
          </a:xfrm>
        </p:grpSpPr>
        <p:cxnSp>
          <p:nvCxnSpPr>
            <p:cNvPr id="80" name="Straight Arrow Connector 79">
              <a:extLst>
                <a:ext uri="{FF2B5EF4-FFF2-40B4-BE49-F238E27FC236}">
                  <a16:creationId xmlns:a16="http://schemas.microsoft.com/office/drawing/2014/main" id="{E4F2F84B-BA60-5A7F-9860-FE4F04223821}"/>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81" name="Graphic 191" descr="Chevron arrows">
              <a:extLst>
                <a:ext uri="{FF2B5EF4-FFF2-40B4-BE49-F238E27FC236}">
                  <a16:creationId xmlns:a16="http://schemas.microsoft.com/office/drawing/2014/main" id="{26FDF362-F8E1-3DA2-54E6-F6A006057C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82" name="Straight Arrow Connector 81">
              <a:extLst>
                <a:ext uri="{FF2B5EF4-FFF2-40B4-BE49-F238E27FC236}">
                  <a16:creationId xmlns:a16="http://schemas.microsoft.com/office/drawing/2014/main" id="{511B3918-42A2-E9AC-F5BD-09CFF389CCEA}"/>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83" name="Graphic 191" descr="Chevron arrows">
              <a:extLst>
                <a:ext uri="{FF2B5EF4-FFF2-40B4-BE49-F238E27FC236}">
                  <a16:creationId xmlns:a16="http://schemas.microsoft.com/office/drawing/2014/main" id="{E1E43089-9BFD-F560-9E7B-7E031E8436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sp>
        <p:nvSpPr>
          <p:cNvPr id="84" name="Rounded Rectangle 193">
            <a:extLst>
              <a:ext uri="{FF2B5EF4-FFF2-40B4-BE49-F238E27FC236}">
                <a16:creationId xmlns:a16="http://schemas.microsoft.com/office/drawing/2014/main" id="{B37FBEE6-2E57-CBF9-9B03-9D2C2800E07B}"/>
              </a:ext>
            </a:extLst>
          </p:cNvPr>
          <p:cNvSpPr/>
          <p:nvPr/>
        </p:nvSpPr>
        <p:spPr>
          <a:xfrm>
            <a:off x="10824982" y="1321752"/>
            <a:ext cx="780199" cy="611586"/>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750" b="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NLG,BI, dashboard, search and retrieval</a:t>
            </a:r>
            <a:endParaRPr kumimoji="0" lang="en-GB" sz="75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nvGrpSpPr>
          <p:cNvPr id="85" name="Group 84">
            <a:extLst>
              <a:ext uri="{FF2B5EF4-FFF2-40B4-BE49-F238E27FC236}">
                <a16:creationId xmlns:a16="http://schemas.microsoft.com/office/drawing/2014/main" id="{7033B62A-CA09-D5B8-C901-2C1A379405D3}"/>
              </a:ext>
            </a:extLst>
          </p:cNvPr>
          <p:cNvGrpSpPr/>
          <p:nvPr/>
        </p:nvGrpSpPr>
        <p:grpSpPr>
          <a:xfrm rot="5400000">
            <a:off x="11038061" y="1906436"/>
            <a:ext cx="336302" cy="390510"/>
            <a:chOff x="1138215" y="2025492"/>
            <a:chExt cx="336302" cy="390510"/>
          </a:xfrm>
        </p:grpSpPr>
        <p:cxnSp>
          <p:nvCxnSpPr>
            <p:cNvPr id="86" name="Straight Arrow Connector 85">
              <a:extLst>
                <a:ext uri="{FF2B5EF4-FFF2-40B4-BE49-F238E27FC236}">
                  <a16:creationId xmlns:a16="http://schemas.microsoft.com/office/drawing/2014/main" id="{4502763C-025C-151B-6CB6-DFED8993B8A6}"/>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87" name="Graphic 191" descr="Chevron arrows">
              <a:extLst>
                <a:ext uri="{FF2B5EF4-FFF2-40B4-BE49-F238E27FC236}">
                  <a16:creationId xmlns:a16="http://schemas.microsoft.com/office/drawing/2014/main" id="{3C77D294-0977-FC99-2F2A-E2A4FF1CBE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88" name="Straight Arrow Connector 87">
              <a:extLst>
                <a:ext uri="{FF2B5EF4-FFF2-40B4-BE49-F238E27FC236}">
                  <a16:creationId xmlns:a16="http://schemas.microsoft.com/office/drawing/2014/main" id="{B12ECF5C-A90E-DB0A-B5E6-45F9E02099EF}"/>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89" name="Graphic 191" descr="Chevron arrows">
              <a:extLst>
                <a:ext uri="{FF2B5EF4-FFF2-40B4-BE49-F238E27FC236}">
                  <a16:creationId xmlns:a16="http://schemas.microsoft.com/office/drawing/2014/main" id="{A7C7A475-D425-142B-9890-FF545CCDDA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sp>
        <p:nvSpPr>
          <p:cNvPr id="90" name="Rounded Rectangle 193">
            <a:extLst>
              <a:ext uri="{FF2B5EF4-FFF2-40B4-BE49-F238E27FC236}">
                <a16:creationId xmlns:a16="http://schemas.microsoft.com/office/drawing/2014/main" id="{8985264F-7935-C4BE-1A3B-263FA0514ADC}"/>
              </a:ext>
            </a:extLst>
          </p:cNvPr>
          <p:cNvSpPr/>
          <p:nvPr/>
        </p:nvSpPr>
        <p:spPr>
          <a:xfrm>
            <a:off x="9220639" y="5683965"/>
            <a:ext cx="1118077" cy="545348"/>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750" b="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ETL, NLG, charting and graphing, interactive visualization</a:t>
            </a:r>
            <a:endParaRPr kumimoji="0" lang="en-GB" sz="75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nvGrpSpPr>
          <p:cNvPr id="91" name="Group 90">
            <a:extLst>
              <a:ext uri="{FF2B5EF4-FFF2-40B4-BE49-F238E27FC236}">
                <a16:creationId xmlns:a16="http://schemas.microsoft.com/office/drawing/2014/main" id="{829512CA-5170-9E47-BEF3-E4C37AE35EDC}"/>
              </a:ext>
            </a:extLst>
          </p:cNvPr>
          <p:cNvGrpSpPr/>
          <p:nvPr/>
        </p:nvGrpSpPr>
        <p:grpSpPr>
          <a:xfrm rot="10800000">
            <a:off x="10338716" y="5717580"/>
            <a:ext cx="336302" cy="390510"/>
            <a:chOff x="1138215" y="2025492"/>
            <a:chExt cx="336302" cy="390510"/>
          </a:xfrm>
        </p:grpSpPr>
        <p:cxnSp>
          <p:nvCxnSpPr>
            <p:cNvPr id="92" name="Straight Arrow Connector 91">
              <a:extLst>
                <a:ext uri="{FF2B5EF4-FFF2-40B4-BE49-F238E27FC236}">
                  <a16:creationId xmlns:a16="http://schemas.microsoft.com/office/drawing/2014/main" id="{B3B7195E-40A4-96F1-449E-494D1DF295E4}"/>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93" name="Graphic 191" descr="Chevron arrows">
              <a:extLst>
                <a:ext uri="{FF2B5EF4-FFF2-40B4-BE49-F238E27FC236}">
                  <a16:creationId xmlns:a16="http://schemas.microsoft.com/office/drawing/2014/main" id="{72347F42-46EB-AB28-E8A8-B39C72E43C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94" name="Straight Arrow Connector 93">
              <a:extLst>
                <a:ext uri="{FF2B5EF4-FFF2-40B4-BE49-F238E27FC236}">
                  <a16:creationId xmlns:a16="http://schemas.microsoft.com/office/drawing/2014/main" id="{CC95238C-51A4-F5A6-E11B-50CF8977ED6E}"/>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95" name="Graphic 191" descr="Chevron arrows">
              <a:extLst>
                <a:ext uri="{FF2B5EF4-FFF2-40B4-BE49-F238E27FC236}">
                  <a16:creationId xmlns:a16="http://schemas.microsoft.com/office/drawing/2014/main" id="{5240041A-907D-0B8C-33F9-C7C7CCDE98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sp>
        <p:nvSpPr>
          <p:cNvPr id="96" name="Rounded Rectangle 193">
            <a:extLst>
              <a:ext uri="{FF2B5EF4-FFF2-40B4-BE49-F238E27FC236}">
                <a16:creationId xmlns:a16="http://schemas.microsoft.com/office/drawing/2014/main" id="{2492760B-CB78-3A00-5DC2-B5E986B0E562}"/>
              </a:ext>
            </a:extLst>
          </p:cNvPr>
          <p:cNvSpPr/>
          <p:nvPr/>
        </p:nvSpPr>
        <p:spPr>
          <a:xfrm>
            <a:off x="4999182" y="6051489"/>
            <a:ext cx="1625595" cy="452318"/>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750" b="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ETL, NLP, automated extraction, validation, standardization, enrichment</a:t>
            </a:r>
            <a:endParaRPr kumimoji="0" lang="en-GB" sz="75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nvGrpSpPr>
          <p:cNvPr id="39" name="Group 38">
            <a:extLst>
              <a:ext uri="{FF2B5EF4-FFF2-40B4-BE49-F238E27FC236}">
                <a16:creationId xmlns:a16="http://schemas.microsoft.com/office/drawing/2014/main" id="{C4B018C8-19AC-ABA6-63A2-4683F8AB36EB}"/>
              </a:ext>
            </a:extLst>
          </p:cNvPr>
          <p:cNvGrpSpPr/>
          <p:nvPr/>
        </p:nvGrpSpPr>
        <p:grpSpPr>
          <a:xfrm>
            <a:off x="5694578" y="5738445"/>
            <a:ext cx="239059" cy="313044"/>
            <a:chOff x="5694578" y="5738445"/>
            <a:chExt cx="239059" cy="313044"/>
          </a:xfrm>
        </p:grpSpPr>
        <p:cxnSp>
          <p:nvCxnSpPr>
            <p:cNvPr id="101" name="Straight Arrow Connector 100">
              <a:extLst>
                <a:ext uri="{FF2B5EF4-FFF2-40B4-BE49-F238E27FC236}">
                  <a16:creationId xmlns:a16="http://schemas.microsoft.com/office/drawing/2014/main" id="{DDFEBCFE-6361-D729-7D58-40D1634E854F}"/>
                </a:ext>
              </a:extLst>
            </p:cNvPr>
            <p:cNvCxnSpPr>
              <a:cxnSpLocks/>
              <a:stCxn id="96" idx="0"/>
              <a:endCxn id="166" idx="2"/>
            </p:cNvCxnSpPr>
            <p:nvPr/>
          </p:nvCxnSpPr>
          <p:spPr>
            <a:xfrm flipV="1">
              <a:off x="5811980" y="5738445"/>
              <a:ext cx="478" cy="313044"/>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102" name="Graphic 191" descr="Chevron arrows">
              <a:extLst>
                <a:ext uri="{FF2B5EF4-FFF2-40B4-BE49-F238E27FC236}">
                  <a16:creationId xmlns:a16="http://schemas.microsoft.com/office/drawing/2014/main" id="{82F554E5-7840-6B5A-4B72-D67C40C91D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5719645" y="5761452"/>
              <a:ext cx="188925" cy="239059"/>
            </a:xfrm>
            <a:prstGeom prst="rect">
              <a:avLst/>
            </a:prstGeom>
          </p:spPr>
        </p:pic>
      </p:grpSp>
      <p:sp>
        <p:nvSpPr>
          <p:cNvPr id="103" name="Rounded Rectangle 193">
            <a:extLst>
              <a:ext uri="{FF2B5EF4-FFF2-40B4-BE49-F238E27FC236}">
                <a16:creationId xmlns:a16="http://schemas.microsoft.com/office/drawing/2014/main" id="{02778673-D83D-4F2A-303E-BD92A75F158D}"/>
              </a:ext>
            </a:extLst>
          </p:cNvPr>
          <p:cNvSpPr/>
          <p:nvPr/>
        </p:nvSpPr>
        <p:spPr>
          <a:xfrm>
            <a:off x="231429" y="3351695"/>
            <a:ext cx="994021" cy="611227"/>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80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LP, data sensitivity classification, etc.</a:t>
            </a:r>
          </a:p>
        </p:txBody>
      </p:sp>
      <p:grpSp>
        <p:nvGrpSpPr>
          <p:cNvPr id="104" name="Group 103">
            <a:extLst>
              <a:ext uri="{FF2B5EF4-FFF2-40B4-BE49-F238E27FC236}">
                <a16:creationId xmlns:a16="http://schemas.microsoft.com/office/drawing/2014/main" id="{F0322CAF-59C5-C334-D994-AA315977ECC0}"/>
              </a:ext>
            </a:extLst>
          </p:cNvPr>
          <p:cNvGrpSpPr/>
          <p:nvPr/>
        </p:nvGrpSpPr>
        <p:grpSpPr>
          <a:xfrm>
            <a:off x="1225450" y="3456538"/>
            <a:ext cx="336302" cy="390510"/>
            <a:chOff x="1138215" y="2025492"/>
            <a:chExt cx="336302" cy="390510"/>
          </a:xfrm>
        </p:grpSpPr>
        <p:cxnSp>
          <p:nvCxnSpPr>
            <p:cNvPr id="105" name="Straight Arrow Connector 104">
              <a:extLst>
                <a:ext uri="{FF2B5EF4-FFF2-40B4-BE49-F238E27FC236}">
                  <a16:creationId xmlns:a16="http://schemas.microsoft.com/office/drawing/2014/main" id="{5884B1FB-D8FF-C028-206D-1A3845CAF47D}"/>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106" name="Graphic 191" descr="Chevron arrows">
              <a:extLst>
                <a:ext uri="{FF2B5EF4-FFF2-40B4-BE49-F238E27FC236}">
                  <a16:creationId xmlns:a16="http://schemas.microsoft.com/office/drawing/2014/main" id="{6E6CAD6F-3C4B-37B1-4FF3-145C7C724A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107" name="Straight Arrow Connector 106">
              <a:extLst>
                <a:ext uri="{FF2B5EF4-FFF2-40B4-BE49-F238E27FC236}">
                  <a16:creationId xmlns:a16="http://schemas.microsoft.com/office/drawing/2014/main" id="{582FF3ED-CB11-CE22-84B6-DF411FFFEDEF}"/>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108" name="Graphic 191" descr="Chevron arrows">
              <a:extLst>
                <a:ext uri="{FF2B5EF4-FFF2-40B4-BE49-F238E27FC236}">
                  <a16:creationId xmlns:a16="http://schemas.microsoft.com/office/drawing/2014/main" id="{AE46C23E-6BC2-DF31-1C3E-634C77E981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cxnSp>
        <p:nvCxnSpPr>
          <p:cNvPr id="121" name="Straight Connector 120">
            <a:extLst>
              <a:ext uri="{FF2B5EF4-FFF2-40B4-BE49-F238E27FC236}">
                <a16:creationId xmlns:a16="http://schemas.microsoft.com/office/drawing/2014/main" id="{E0E3DFFB-1D26-544C-0EC6-C5DCC569318E}"/>
              </a:ext>
            </a:extLst>
          </p:cNvPr>
          <p:cNvCxnSpPr>
            <a:cxnSpLocks/>
          </p:cNvCxnSpPr>
          <p:nvPr/>
        </p:nvCxnSpPr>
        <p:spPr>
          <a:xfrm>
            <a:off x="4373902" y="1812462"/>
            <a:ext cx="0" cy="2743200"/>
          </a:xfrm>
          <a:prstGeom prst="line">
            <a:avLst/>
          </a:prstGeom>
          <a:noFill/>
          <a:ln w="3175" cap="flat" cmpd="sng" algn="ctr">
            <a:solidFill>
              <a:srgbClr val="53565A"/>
            </a:solidFill>
            <a:prstDash val="dash"/>
          </a:ln>
          <a:effectLst/>
        </p:spPr>
      </p:cxnSp>
      <p:cxnSp>
        <p:nvCxnSpPr>
          <p:cNvPr id="122" name="Straight Connector 121">
            <a:extLst>
              <a:ext uri="{FF2B5EF4-FFF2-40B4-BE49-F238E27FC236}">
                <a16:creationId xmlns:a16="http://schemas.microsoft.com/office/drawing/2014/main" id="{E1480BD9-02D2-B263-9969-D1975E0485DB}"/>
              </a:ext>
            </a:extLst>
          </p:cNvPr>
          <p:cNvCxnSpPr>
            <a:cxnSpLocks/>
          </p:cNvCxnSpPr>
          <p:nvPr/>
        </p:nvCxnSpPr>
        <p:spPr>
          <a:xfrm>
            <a:off x="6035062" y="1829696"/>
            <a:ext cx="0" cy="2743200"/>
          </a:xfrm>
          <a:prstGeom prst="line">
            <a:avLst/>
          </a:prstGeom>
          <a:noFill/>
          <a:ln w="3175" cap="flat" cmpd="sng" algn="ctr">
            <a:solidFill>
              <a:srgbClr val="53565A"/>
            </a:solidFill>
            <a:prstDash val="dash"/>
          </a:ln>
          <a:effectLst/>
        </p:spPr>
      </p:cxnSp>
      <p:cxnSp>
        <p:nvCxnSpPr>
          <p:cNvPr id="124" name="Connector: Elbow 123">
            <a:extLst>
              <a:ext uri="{FF2B5EF4-FFF2-40B4-BE49-F238E27FC236}">
                <a16:creationId xmlns:a16="http://schemas.microsoft.com/office/drawing/2014/main" id="{9424F49E-82A0-12C4-0D48-6BE101B6A7A3}"/>
              </a:ext>
            </a:extLst>
          </p:cNvPr>
          <p:cNvCxnSpPr>
            <a:cxnSpLocks/>
            <a:stCxn id="332" idx="3"/>
            <a:endCxn id="99" idx="2"/>
          </p:cNvCxnSpPr>
          <p:nvPr/>
        </p:nvCxnSpPr>
        <p:spPr>
          <a:xfrm>
            <a:off x="4199685" y="3594356"/>
            <a:ext cx="2128883" cy="196896"/>
          </a:xfrm>
          <a:prstGeom prst="bentConnector4">
            <a:avLst>
              <a:gd name="adj1" fmla="val 6680"/>
              <a:gd name="adj2" fmla="val 488554"/>
            </a:avLst>
          </a:prstGeom>
          <a:ln w="3175">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11" name="Graphic 10" descr="Brain in head with solid fill">
            <a:extLst>
              <a:ext uri="{FF2B5EF4-FFF2-40B4-BE49-F238E27FC236}">
                <a16:creationId xmlns:a16="http://schemas.microsoft.com/office/drawing/2014/main" id="{6DBE958B-4A5C-3160-380E-0BEBAC3269E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276702" y="3400074"/>
            <a:ext cx="137160" cy="137160"/>
          </a:xfrm>
          <a:prstGeom prst="rect">
            <a:avLst/>
          </a:prstGeom>
        </p:spPr>
      </p:pic>
      <p:pic>
        <p:nvPicPr>
          <p:cNvPr id="12" name="Graphic 11" descr="Brain in head with solid fill">
            <a:extLst>
              <a:ext uri="{FF2B5EF4-FFF2-40B4-BE49-F238E27FC236}">
                <a16:creationId xmlns:a16="http://schemas.microsoft.com/office/drawing/2014/main" id="{214F9094-16E5-3AAD-E706-DDBA1D0B32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5035669" y="6084751"/>
            <a:ext cx="137160" cy="137160"/>
          </a:xfrm>
          <a:prstGeom prst="rect">
            <a:avLst/>
          </a:prstGeom>
        </p:spPr>
      </p:pic>
      <p:pic>
        <p:nvPicPr>
          <p:cNvPr id="15" name="Graphic 14" descr="Brain in head with solid fill">
            <a:extLst>
              <a:ext uri="{FF2B5EF4-FFF2-40B4-BE49-F238E27FC236}">
                <a16:creationId xmlns:a16="http://schemas.microsoft.com/office/drawing/2014/main" id="{1F50D1E5-6DB8-DFB7-70FE-0C91D949B37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8070329" y="4218317"/>
            <a:ext cx="137160" cy="137160"/>
          </a:xfrm>
          <a:prstGeom prst="rect">
            <a:avLst/>
          </a:prstGeom>
        </p:spPr>
      </p:pic>
      <p:pic>
        <p:nvPicPr>
          <p:cNvPr id="16" name="Graphic 15" descr="Brain in head with solid fill">
            <a:extLst>
              <a:ext uri="{FF2B5EF4-FFF2-40B4-BE49-F238E27FC236}">
                <a16:creationId xmlns:a16="http://schemas.microsoft.com/office/drawing/2014/main" id="{D0E1E875-2910-BB35-0DBA-6ACB23DF5CE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9256439" y="6058866"/>
            <a:ext cx="137160" cy="137160"/>
          </a:xfrm>
          <a:prstGeom prst="rect">
            <a:avLst/>
          </a:prstGeom>
        </p:spPr>
      </p:pic>
      <p:pic>
        <p:nvPicPr>
          <p:cNvPr id="17" name="Graphic 16" descr="Brain in head with solid fill">
            <a:extLst>
              <a:ext uri="{FF2B5EF4-FFF2-40B4-BE49-F238E27FC236}">
                <a16:creationId xmlns:a16="http://schemas.microsoft.com/office/drawing/2014/main" id="{087A7908-C5BA-9101-D58E-E2B497ADCF9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9726772" y="3009394"/>
            <a:ext cx="137160" cy="137160"/>
          </a:xfrm>
          <a:prstGeom prst="rect">
            <a:avLst/>
          </a:prstGeom>
        </p:spPr>
      </p:pic>
      <p:pic>
        <p:nvPicPr>
          <p:cNvPr id="18" name="Graphic 17" descr="Brain in head with solid fill">
            <a:extLst>
              <a:ext uri="{FF2B5EF4-FFF2-40B4-BE49-F238E27FC236}">
                <a16:creationId xmlns:a16="http://schemas.microsoft.com/office/drawing/2014/main" id="{978965C2-56BF-B63D-D576-9D2FC0959EE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10845580" y="1333701"/>
            <a:ext cx="137160" cy="137160"/>
          </a:xfrm>
          <a:prstGeom prst="rect">
            <a:avLst/>
          </a:prstGeom>
        </p:spPr>
      </p:pic>
      <p:pic>
        <p:nvPicPr>
          <p:cNvPr id="19" name="Graphic 18" descr="Brain in head with solid fill">
            <a:extLst>
              <a:ext uri="{FF2B5EF4-FFF2-40B4-BE49-F238E27FC236}">
                <a16:creationId xmlns:a16="http://schemas.microsoft.com/office/drawing/2014/main" id="{5432B49F-22D8-D3F8-7F44-56C962883F1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280670" y="2131648"/>
            <a:ext cx="137160" cy="137160"/>
          </a:xfrm>
          <a:prstGeom prst="rect">
            <a:avLst/>
          </a:prstGeom>
        </p:spPr>
      </p:pic>
      <p:grpSp>
        <p:nvGrpSpPr>
          <p:cNvPr id="10" name="Group 9">
            <a:extLst>
              <a:ext uri="{FF2B5EF4-FFF2-40B4-BE49-F238E27FC236}">
                <a16:creationId xmlns:a16="http://schemas.microsoft.com/office/drawing/2014/main" id="{64EB683C-823D-9FBC-5753-31CBDE4973DB}"/>
              </a:ext>
            </a:extLst>
          </p:cNvPr>
          <p:cNvGrpSpPr/>
          <p:nvPr/>
        </p:nvGrpSpPr>
        <p:grpSpPr>
          <a:xfrm>
            <a:off x="10295311" y="106467"/>
            <a:ext cx="1783931" cy="506735"/>
            <a:chOff x="10272451" y="187145"/>
            <a:chExt cx="1783931" cy="506735"/>
          </a:xfrm>
        </p:grpSpPr>
        <p:sp>
          <p:nvSpPr>
            <p:cNvPr id="4" name="Rounded Rectangle 193">
              <a:extLst>
                <a:ext uri="{FF2B5EF4-FFF2-40B4-BE49-F238E27FC236}">
                  <a16:creationId xmlns:a16="http://schemas.microsoft.com/office/drawing/2014/main" id="{FECA5E50-60E8-8180-509C-913E090952DE}"/>
                </a:ext>
              </a:extLst>
            </p:cNvPr>
            <p:cNvSpPr/>
            <p:nvPr/>
          </p:nvSpPr>
          <p:spPr>
            <a:xfrm>
              <a:off x="10272451" y="187145"/>
              <a:ext cx="1783931" cy="506735"/>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750" b="1">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Indicates </a:t>
              </a:r>
              <a:r>
                <a:rPr lang="en-US" sz="750" b="1">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where the AI agent interacts with a specific part of the architecture.</a:t>
              </a:r>
              <a:endParaRPr kumimoji="0" lang="en-GB" sz="75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pic>
          <p:nvPicPr>
            <p:cNvPr id="6" name="Graphic 5" descr="Brain in head with solid fill">
              <a:extLst>
                <a:ext uri="{FF2B5EF4-FFF2-40B4-BE49-F238E27FC236}">
                  <a16:creationId xmlns:a16="http://schemas.microsoft.com/office/drawing/2014/main" id="{CDCC16E6-E834-0203-AE65-6A60E17E8C6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flipH="1">
              <a:off x="10290854" y="210762"/>
              <a:ext cx="137160" cy="137160"/>
            </a:xfrm>
            <a:prstGeom prst="rect">
              <a:avLst/>
            </a:prstGeom>
          </p:spPr>
        </p:pic>
      </p:grpSp>
      <p:grpSp>
        <p:nvGrpSpPr>
          <p:cNvPr id="43" name="Group 42">
            <a:extLst>
              <a:ext uri="{FF2B5EF4-FFF2-40B4-BE49-F238E27FC236}">
                <a16:creationId xmlns:a16="http://schemas.microsoft.com/office/drawing/2014/main" id="{BD55205C-DF04-F49D-72EC-DE5BAEF08D02}"/>
              </a:ext>
            </a:extLst>
          </p:cNvPr>
          <p:cNvGrpSpPr/>
          <p:nvPr/>
        </p:nvGrpSpPr>
        <p:grpSpPr>
          <a:xfrm rot="5400000">
            <a:off x="6797842" y="3765961"/>
            <a:ext cx="336302" cy="390510"/>
            <a:chOff x="1138215" y="2025492"/>
            <a:chExt cx="336302" cy="390510"/>
          </a:xfrm>
        </p:grpSpPr>
        <p:cxnSp>
          <p:nvCxnSpPr>
            <p:cNvPr id="44" name="Straight Arrow Connector 43">
              <a:extLst>
                <a:ext uri="{FF2B5EF4-FFF2-40B4-BE49-F238E27FC236}">
                  <a16:creationId xmlns:a16="http://schemas.microsoft.com/office/drawing/2014/main" id="{262E5B31-F14E-A6A2-F450-67B2177D39B8}"/>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45" name="Graphic 191" descr="Chevron arrows">
              <a:extLst>
                <a:ext uri="{FF2B5EF4-FFF2-40B4-BE49-F238E27FC236}">
                  <a16:creationId xmlns:a16="http://schemas.microsoft.com/office/drawing/2014/main" id="{EF88498B-854C-AF63-6602-A25BD26623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46" name="Straight Arrow Connector 45">
              <a:extLst>
                <a:ext uri="{FF2B5EF4-FFF2-40B4-BE49-F238E27FC236}">
                  <a16:creationId xmlns:a16="http://schemas.microsoft.com/office/drawing/2014/main" id="{A5EEA13B-0A4B-B3C2-E428-CBEE95799BD9}"/>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47" name="Graphic 191" descr="Chevron arrows">
              <a:extLst>
                <a:ext uri="{FF2B5EF4-FFF2-40B4-BE49-F238E27FC236}">
                  <a16:creationId xmlns:a16="http://schemas.microsoft.com/office/drawing/2014/main" id="{AF7F6144-FE4D-9BA9-B595-BE34FA9F1E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grpSp>
        <p:nvGrpSpPr>
          <p:cNvPr id="109" name="Group 108">
            <a:extLst>
              <a:ext uri="{FF2B5EF4-FFF2-40B4-BE49-F238E27FC236}">
                <a16:creationId xmlns:a16="http://schemas.microsoft.com/office/drawing/2014/main" id="{50C9A643-15DD-4673-1982-71061C08C168}"/>
              </a:ext>
            </a:extLst>
          </p:cNvPr>
          <p:cNvGrpSpPr/>
          <p:nvPr/>
        </p:nvGrpSpPr>
        <p:grpSpPr>
          <a:xfrm>
            <a:off x="6202713" y="1919308"/>
            <a:ext cx="1499824" cy="1871944"/>
            <a:chOff x="6202713" y="1919308"/>
            <a:chExt cx="1499824" cy="2047386"/>
          </a:xfrm>
        </p:grpSpPr>
        <p:sp>
          <p:nvSpPr>
            <p:cNvPr id="61" name="Rounded Rectangle 203">
              <a:extLst>
                <a:ext uri="{FF2B5EF4-FFF2-40B4-BE49-F238E27FC236}">
                  <a16:creationId xmlns:a16="http://schemas.microsoft.com/office/drawing/2014/main" id="{F3E0B264-1E4E-9758-D30B-9B5AC35E493D}"/>
                </a:ext>
              </a:extLst>
            </p:cNvPr>
            <p:cNvSpPr/>
            <p:nvPr/>
          </p:nvSpPr>
          <p:spPr>
            <a:xfrm>
              <a:off x="6202713" y="1919308"/>
              <a:ext cx="1499824" cy="2039788"/>
            </a:xfrm>
            <a:prstGeom prst="roundRect">
              <a:avLst>
                <a:gd name="adj" fmla="val 8072"/>
              </a:avLst>
            </a:prstGeom>
            <a:noFill/>
            <a:ln w="3175" cap="flat" cmpd="sng" algn="ctr">
              <a:solidFill>
                <a:srgbClr val="000000"/>
              </a:solidFill>
              <a:prstDash val="solid"/>
            </a:ln>
            <a:effectLst/>
          </p:spPr>
          <p:txBody>
            <a:bodyPr rtlCol="0" anchor="t"/>
            <a:lstStyle/>
            <a:p>
              <a:pPr marL="0" marR="0" lvl="0" indent="0" algn="r" defTabSz="914400" rtl="0" eaLnBrk="1" fontAlgn="base" latinLnBrk="0" hangingPunct="1">
                <a:lnSpc>
                  <a:spcPct val="100000"/>
                </a:lnSpc>
                <a:spcBef>
                  <a:spcPct val="0"/>
                </a:spcBef>
                <a:spcAft>
                  <a:spcPct val="0"/>
                </a:spcAft>
                <a:buClrTx/>
                <a:buSzTx/>
                <a:buFont typeface="Arial"/>
                <a:buNone/>
                <a:tabLst/>
                <a:defRPr/>
              </a:pPr>
              <a:r>
                <a:rPr kumimoji="0" lang="en-US" sz="9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Logical Mappings</a:t>
              </a:r>
            </a:p>
          </p:txBody>
        </p:sp>
        <p:sp>
          <p:nvSpPr>
            <p:cNvPr id="99" name="Rectangle 98">
              <a:extLst>
                <a:ext uri="{FF2B5EF4-FFF2-40B4-BE49-F238E27FC236}">
                  <a16:creationId xmlns:a16="http://schemas.microsoft.com/office/drawing/2014/main" id="{88902CD9-9E4E-E8F7-2F83-768A1ABD7BB6}"/>
                </a:ext>
              </a:extLst>
            </p:cNvPr>
            <p:cNvSpPr/>
            <p:nvPr/>
          </p:nvSpPr>
          <p:spPr>
            <a:xfrm>
              <a:off x="6203182" y="3650709"/>
              <a:ext cx="250772" cy="3159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B6AB23F4-DBB8-A988-E805-F3D71DB46B2F}"/>
              </a:ext>
            </a:extLst>
          </p:cNvPr>
          <p:cNvGrpSpPr/>
          <p:nvPr/>
        </p:nvGrpSpPr>
        <p:grpSpPr>
          <a:xfrm>
            <a:off x="4514985" y="1894344"/>
            <a:ext cx="1415280" cy="1930128"/>
            <a:chOff x="4514985" y="1894344"/>
            <a:chExt cx="1415280" cy="1930128"/>
          </a:xfrm>
        </p:grpSpPr>
        <p:sp>
          <p:nvSpPr>
            <p:cNvPr id="342" name="Rounded Rectangle 203">
              <a:extLst>
                <a:ext uri="{FF2B5EF4-FFF2-40B4-BE49-F238E27FC236}">
                  <a16:creationId xmlns:a16="http://schemas.microsoft.com/office/drawing/2014/main" id="{7C8F4FD8-ED97-70BB-FC28-6731E6D224AD}"/>
                </a:ext>
              </a:extLst>
            </p:cNvPr>
            <p:cNvSpPr/>
            <p:nvPr/>
          </p:nvSpPr>
          <p:spPr>
            <a:xfrm>
              <a:off x="4514985" y="1894344"/>
              <a:ext cx="1415280" cy="1919563"/>
            </a:xfrm>
            <a:prstGeom prst="roundRect">
              <a:avLst>
                <a:gd name="adj" fmla="val 8072"/>
              </a:avLst>
            </a:prstGeom>
            <a:ln w="3175" cmpd="sng">
              <a:solidFill>
                <a:schemeClr val="tx1">
                  <a:lumMod val="50000"/>
                </a:schemeClr>
              </a:solidFill>
              <a:headEnd type="stealth" w="med" len="med"/>
              <a:tailEnd type="stealth" w="med" len="med"/>
            </a:ln>
            <a:effectLst/>
          </p:spPr>
          <p:style>
            <a:lnRef idx="2">
              <a:schemeClr val="accent1"/>
            </a:lnRef>
            <a:fillRef idx="0">
              <a:schemeClr val="accent1"/>
            </a:fillRef>
            <a:effectRef idx="1">
              <a:schemeClr val="accent1"/>
            </a:effectRef>
            <a:fontRef idx="minor">
              <a:schemeClr val="tx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8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ata Quality Rules and Metrics</a:t>
              </a:r>
            </a:p>
          </p:txBody>
        </p:sp>
        <p:sp>
          <p:nvSpPr>
            <p:cNvPr id="113" name="Rectangle 112">
              <a:extLst>
                <a:ext uri="{FF2B5EF4-FFF2-40B4-BE49-F238E27FC236}">
                  <a16:creationId xmlns:a16="http://schemas.microsoft.com/office/drawing/2014/main" id="{1E821277-81BB-248E-5126-B9E3020CCFA1}"/>
                </a:ext>
              </a:extLst>
            </p:cNvPr>
            <p:cNvSpPr/>
            <p:nvPr/>
          </p:nvSpPr>
          <p:spPr>
            <a:xfrm>
              <a:off x="4514985" y="3643025"/>
              <a:ext cx="256288" cy="1814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6" name="Group 115">
            <a:extLst>
              <a:ext uri="{FF2B5EF4-FFF2-40B4-BE49-F238E27FC236}">
                <a16:creationId xmlns:a16="http://schemas.microsoft.com/office/drawing/2014/main" id="{FA53004A-DB6E-A713-9EE8-D710E6DBF9CF}"/>
              </a:ext>
            </a:extLst>
          </p:cNvPr>
          <p:cNvGrpSpPr/>
          <p:nvPr/>
        </p:nvGrpSpPr>
        <p:grpSpPr>
          <a:xfrm rot="5400000">
            <a:off x="5029020" y="3796809"/>
            <a:ext cx="336302" cy="390510"/>
            <a:chOff x="1138215" y="2025492"/>
            <a:chExt cx="336302" cy="390510"/>
          </a:xfrm>
        </p:grpSpPr>
        <p:cxnSp>
          <p:nvCxnSpPr>
            <p:cNvPr id="117" name="Straight Arrow Connector 116">
              <a:extLst>
                <a:ext uri="{FF2B5EF4-FFF2-40B4-BE49-F238E27FC236}">
                  <a16:creationId xmlns:a16="http://schemas.microsoft.com/office/drawing/2014/main" id="{D6946E36-444C-8CDC-6B61-EAE0EF6F8705}"/>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118" name="Graphic 191" descr="Chevron arrows">
              <a:extLst>
                <a:ext uri="{FF2B5EF4-FFF2-40B4-BE49-F238E27FC236}">
                  <a16:creationId xmlns:a16="http://schemas.microsoft.com/office/drawing/2014/main" id="{E823C7B2-D96E-6792-27BB-A20CE7D033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119" name="Straight Arrow Connector 118">
              <a:extLst>
                <a:ext uri="{FF2B5EF4-FFF2-40B4-BE49-F238E27FC236}">
                  <a16:creationId xmlns:a16="http://schemas.microsoft.com/office/drawing/2014/main" id="{2F046F5A-6972-761A-E8CA-4DB03A35CD37}"/>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120" name="Graphic 191" descr="Chevron arrows">
              <a:extLst>
                <a:ext uri="{FF2B5EF4-FFF2-40B4-BE49-F238E27FC236}">
                  <a16:creationId xmlns:a16="http://schemas.microsoft.com/office/drawing/2014/main" id="{61234E67-5734-DCE5-FC8A-ECED6E0721B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grpSp>
        <p:nvGrpSpPr>
          <p:cNvPr id="128" name="Group 127">
            <a:extLst>
              <a:ext uri="{FF2B5EF4-FFF2-40B4-BE49-F238E27FC236}">
                <a16:creationId xmlns:a16="http://schemas.microsoft.com/office/drawing/2014/main" id="{673BBA10-E222-6F0F-C720-42254681E26D}"/>
              </a:ext>
            </a:extLst>
          </p:cNvPr>
          <p:cNvGrpSpPr/>
          <p:nvPr/>
        </p:nvGrpSpPr>
        <p:grpSpPr>
          <a:xfrm>
            <a:off x="6405407" y="4137519"/>
            <a:ext cx="1115343" cy="418313"/>
            <a:chOff x="6356639" y="4167999"/>
            <a:chExt cx="1115343" cy="418313"/>
          </a:xfrm>
        </p:grpSpPr>
        <p:sp>
          <p:nvSpPr>
            <p:cNvPr id="126" name="Rounded Rectangle 193">
              <a:extLst>
                <a:ext uri="{FF2B5EF4-FFF2-40B4-BE49-F238E27FC236}">
                  <a16:creationId xmlns:a16="http://schemas.microsoft.com/office/drawing/2014/main" id="{163F313D-78F0-9841-A2B8-2876125F7428}"/>
                </a:ext>
              </a:extLst>
            </p:cNvPr>
            <p:cNvSpPr/>
            <p:nvPr/>
          </p:nvSpPr>
          <p:spPr>
            <a:xfrm>
              <a:off x="6356639" y="4167999"/>
              <a:ext cx="1115343" cy="418313"/>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75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Association rule mining, workflow automation</a:t>
              </a:r>
            </a:p>
          </p:txBody>
        </p:sp>
        <p:pic>
          <p:nvPicPr>
            <p:cNvPr id="127" name="Graphic 126" descr="Brain in head with solid fill">
              <a:extLst>
                <a:ext uri="{FF2B5EF4-FFF2-40B4-BE49-F238E27FC236}">
                  <a16:creationId xmlns:a16="http://schemas.microsoft.com/office/drawing/2014/main" id="{AC9F964F-9D15-3106-52E4-C189AFA336D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flipH="1">
              <a:off x="6362339" y="4187350"/>
              <a:ext cx="137160" cy="137160"/>
            </a:xfrm>
            <a:prstGeom prst="rect">
              <a:avLst/>
            </a:prstGeom>
          </p:spPr>
        </p:pic>
      </p:grpSp>
      <p:sp>
        <p:nvSpPr>
          <p:cNvPr id="130" name="Rounded Rectangle 193">
            <a:extLst>
              <a:ext uri="{FF2B5EF4-FFF2-40B4-BE49-F238E27FC236}">
                <a16:creationId xmlns:a16="http://schemas.microsoft.com/office/drawing/2014/main" id="{CE7F4600-C13B-2396-2C4A-6EEF45CAC161}"/>
              </a:ext>
            </a:extLst>
          </p:cNvPr>
          <p:cNvSpPr/>
          <p:nvPr/>
        </p:nvSpPr>
        <p:spPr>
          <a:xfrm>
            <a:off x="4670881" y="4165683"/>
            <a:ext cx="1362482" cy="357748"/>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750" b="1">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econciliation, validation, anomaly detection, rule creation</a:t>
            </a:r>
            <a:endParaRPr kumimoji="0" lang="en-GB" sz="75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grpSp>
        <p:nvGrpSpPr>
          <p:cNvPr id="3" name="Group 2">
            <a:extLst>
              <a:ext uri="{FF2B5EF4-FFF2-40B4-BE49-F238E27FC236}">
                <a16:creationId xmlns:a16="http://schemas.microsoft.com/office/drawing/2014/main" id="{57494828-A38C-28F5-9742-952BD6E3B157}"/>
              </a:ext>
            </a:extLst>
          </p:cNvPr>
          <p:cNvGrpSpPr/>
          <p:nvPr/>
        </p:nvGrpSpPr>
        <p:grpSpPr>
          <a:xfrm rot="5400000">
            <a:off x="549137" y="4674362"/>
            <a:ext cx="336302" cy="390510"/>
            <a:chOff x="1138215" y="2025492"/>
            <a:chExt cx="336302" cy="390510"/>
          </a:xfrm>
        </p:grpSpPr>
        <p:cxnSp>
          <p:nvCxnSpPr>
            <p:cNvPr id="5" name="Straight Arrow Connector 4">
              <a:extLst>
                <a:ext uri="{FF2B5EF4-FFF2-40B4-BE49-F238E27FC236}">
                  <a16:creationId xmlns:a16="http://schemas.microsoft.com/office/drawing/2014/main" id="{443D46A4-2A71-775B-332A-247C17F42434}"/>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9" name="Graphic 191" descr="Chevron arrows">
              <a:extLst>
                <a:ext uri="{FF2B5EF4-FFF2-40B4-BE49-F238E27FC236}">
                  <a16:creationId xmlns:a16="http://schemas.microsoft.com/office/drawing/2014/main" id="{AEF67C9E-2AA3-B0E9-AD4F-B5325E1361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13" name="Straight Arrow Connector 12">
              <a:extLst>
                <a:ext uri="{FF2B5EF4-FFF2-40B4-BE49-F238E27FC236}">
                  <a16:creationId xmlns:a16="http://schemas.microsoft.com/office/drawing/2014/main" id="{3130FD1C-8027-22EA-6A54-29FC5843A4FB}"/>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14" name="Graphic 191" descr="Chevron arrows">
              <a:extLst>
                <a:ext uri="{FF2B5EF4-FFF2-40B4-BE49-F238E27FC236}">
                  <a16:creationId xmlns:a16="http://schemas.microsoft.com/office/drawing/2014/main" id="{2D7D9F1C-DC69-8D9C-0EAD-CABC2B9500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grpSp>
        <p:nvGrpSpPr>
          <p:cNvPr id="20" name="Group 19">
            <a:extLst>
              <a:ext uri="{FF2B5EF4-FFF2-40B4-BE49-F238E27FC236}">
                <a16:creationId xmlns:a16="http://schemas.microsoft.com/office/drawing/2014/main" id="{56CFF709-5695-FEB4-29C5-2223D03EACD3}"/>
              </a:ext>
            </a:extLst>
          </p:cNvPr>
          <p:cNvGrpSpPr/>
          <p:nvPr/>
        </p:nvGrpSpPr>
        <p:grpSpPr>
          <a:xfrm rot="5400000">
            <a:off x="1857302" y="5298128"/>
            <a:ext cx="336302" cy="390510"/>
            <a:chOff x="1138215" y="2025492"/>
            <a:chExt cx="336302" cy="390510"/>
          </a:xfrm>
        </p:grpSpPr>
        <p:cxnSp>
          <p:nvCxnSpPr>
            <p:cNvPr id="21" name="Straight Arrow Connector 20">
              <a:extLst>
                <a:ext uri="{FF2B5EF4-FFF2-40B4-BE49-F238E27FC236}">
                  <a16:creationId xmlns:a16="http://schemas.microsoft.com/office/drawing/2014/main" id="{AD1A51D8-EC7E-0B04-AAFD-31FEC9B86721}"/>
                </a:ext>
              </a:extLst>
            </p:cNvPr>
            <p:cNvCxnSpPr>
              <a:cxnSpLocks/>
            </p:cNvCxnSpPr>
            <p:nvPr/>
          </p:nvCxnSpPr>
          <p:spPr>
            <a:xfrm>
              <a:off x="1138215" y="2299063"/>
              <a:ext cx="336302"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23" name="Graphic 191" descr="Chevron arrows">
              <a:extLst>
                <a:ext uri="{FF2B5EF4-FFF2-40B4-BE49-F238E27FC236}">
                  <a16:creationId xmlns:a16="http://schemas.microsoft.com/office/drawing/2014/main" id="{F2438DE9-B25D-E590-5B07-9B9E0C71D0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204497" y="2176943"/>
              <a:ext cx="188925" cy="239059"/>
            </a:xfrm>
            <a:prstGeom prst="rect">
              <a:avLst/>
            </a:prstGeom>
          </p:spPr>
        </p:pic>
        <p:cxnSp>
          <p:nvCxnSpPr>
            <p:cNvPr id="28" name="Straight Arrow Connector 27">
              <a:extLst>
                <a:ext uri="{FF2B5EF4-FFF2-40B4-BE49-F238E27FC236}">
                  <a16:creationId xmlns:a16="http://schemas.microsoft.com/office/drawing/2014/main" id="{B0DBBB1B-5464-632C-3530-5BC577358AE5}"/>
                </a:ext>
              </a:extLst>
            </p:cNvPr>
            <p:cNvCxnSpPr>
              <a:cxnSpLocks/>
            </p:cNvCxnSpPr>
            <p:nvPr/>
          </p:nvCxnSpPr>
          <p:spPr>
            <a:xfrm flipH="1">
              <a:off x="1138702" y="2143287"/>
              <a:ext cx="335815" cy="0"/>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29" name="Graphic 191" descr="Chevron arrows">
              <a:extLst>
                <a:ext uri="{FF2B5EF4-FFF2-40B4-BE49-F238E27FC236}">
                  <a16:creationId xmlns:a16="http://schemas.microsoft.com/office/drawing/2014/main" id="{2FE9935A-6DD7-F30A-31BE-C76E862A00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25786" y="2025492"/>
              <a:ext cx="188925" cy="239059"/>
            </a:xfrm>
            <a:prstGeom prst="rect">
              <a:avLst/>
            </a:prstGeom>
          </p:spPr>
        </p:pic>
      </p:grpSp>
      <p:sp>
        <p:nvSpPr>
          <p:cNvPr id="30" name="Rounded Rectangle 193">
            <a:extLst>
              <a:ext uri="{FF2B5EF4-FFF2-40B4-BE49-F238E27FC236}">
                <a16:creationId xmlns:a16="http://schemas.microsoft.com/office/drawing/2014/main" id="{11F48849-DC54-6B22-23F5-9D1346EF153E}"/>
              </a:ext>
            </a:extLst>
          </p:cNvPr>
          <p:cNvSpPr/>
          <p:nvPr/>
        </p:nvSpPr>
        <p:spPr>
          <a:xfrm>
            <a:off x="169587" y="5046454"/>
            <a:ext cx="1092781" cy="611227"/>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GB"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 Forecasting</a:t>
            </a:r>
            <a:r>
              <a:rPr kumimoji="0" lang="en-GB" sz="80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 risk assessment, API integration, dashboards </a:t>
            </a:r>
          </a:p>
        </p:txBody>
      </p:sp>
      <p:pic>
        <p:nvPicPr>
          <p:cNvPr id="31" name="Graphic 30" descr="Brain in head with solid fill">
            <a:extLst>
              <a:ext uri="{FF2B5EF4-FFF2-40B4-BE49-F238E27FC236}">
                <a16:creationId xmlns:a16="http://schemas.microsoft.com/office/drawing/2014/main" id="{DE08A0EF-5E10-FBF4-5DA4-ECD9D0115DF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198408" y="5094616"/>
            <a:ext cx="137160" cy="137160"/>
          </a:xfrm>
          <a:prstGeom prst="rect">
            <a:avLst/>
          </a:prstGeom>
        </p:spPr>
      </p:pic>
      <p:sp>
        <p:nvSpPr>
          <p:cNvPr id="32" name="Rounded Rectangle 193">
            <a:extLst>
              <a:ext uri="{FF2B5EF4-FFF2-40B4-BE49-F238E27FC236}">
                <a16:creationId xmlns:a16="http://schemas.microsoft.com/office/drawing/2014/main" id="{82CA2B4E-E57F-68AB-275E-D9E402E59EF2}"/>
              </a:ext>
            </a:extLst>
          </p:cNvPr>
          <p:cNvSpPr/>
          <p:nvPr/>
        </p:nvSpPr>
        <p:spPr>
          <a:xfrm>
            <a:off x="1454682" y="5670666"/>
            <a:ext cx="1208483" cy="611227"/>
          </a:xfrm>
          <a:prstGeom prst="roundRect">
            <a:avLst/>
          </a:prstGeom>
          <a:solidFill>
            <a:schemeClr val="accent6">
              <a:lumMod val="100000"/>
            </a:schemeClr>
          </a:solidFill>
          <a:ln w="3175"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8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Validation, cleaning, enrichment, anomaly detection</a:t>
            </a:r>
          </a:p>
        </p:txBody>
      </p:sp>
      <p:pic>
        <p:nvPicPr>
          <p:cNvPr id="33" name="Graphic 32" descr="Brain in head with solid fill">
            <a:extLst>
              <a:ext uri="{FF2B5EF4-FFF2-40B4-BE49-F238E27FC236}">
                <a16:creationId xmlns:a16="http://schemas.microsoft.com/office/drawing/2014/main" id="{A81E0B63-DC68-B27B-02BF-0432E0C7C9F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1493172" y="5722815"/>
            <a:ext cx="137160" cy="137160"/>
          </a:xfrm>
          <a:prstGeom prst="rect">
            <a:avLst/>
          </a:prstGeom>
        </p:spPr>
      </p:pic>
      <p:sp>
        <p:nvSpPr>
          <p:cNvPr id="8" name="TextBox 7">
            <a:extLst>
              <a:ext uri="{FF2B5EF4-FFF2-40B4-BE49-F238E27FC236}">
                <a16:creationId xmlns:a16="http://schemas.microsoft.com/office/drawing/2014/main" id="{54023149-6241-CB7A-E265-C7D1CDB90925}"/>
              </a:ext>
            </a:extLst>
          </p:cNvPr>
          <p:cNvSpPr txBox="1"/>
          <p:nvPr/>
        </p:nvSpPr>
        <p:spPr>
          <a:xfrm>
            <a:off x="5922264" y="6520322"/>
            <a:ext cx="6087774" cy="215444"/>
          </a:xfrm>
          <a:prstGeom prst="rect">
            <a:avLst/>
          </a:prstGeom>
          <a:noFill/>
          <a:ln w="38100">
            <a:noFill/>
            <a:prstDash val="lgDash"/>
          </a:ln>
        </p:spPr>
        <p:txBody>
          <a:bodyPr wrap="square" rtlCol="0">
            <a:spAutoFit/>
          </a:bodyPr>
          <a:lstStyle/>
          <a:p>
            <a:pPr algn="r"/>
            <a:r>
              <a:rPr lang="en-US" sz="800" b="1">
                <a:latin typeface="Open Sans" panose="020B0606030504020204" pitchFamily="34" charset="0"/>
                <a:ea typeface="Open Sans" panose="020B0606030504020204" pitchFamily="34" charset="0"/>
                <a:cs typeface="Open Sans" panose="020B0606030504020204" pitchFamily="34" charset="0"/>
              </a:rPr>
              <a:t>NOTE: </a:t>
            </a:r>
            <a:r>
              <a:rPr lang="en-US" sz="800">
                <a:latin typeface="Open Sans" panose="020B0606030504020204" pitchFamily="34" charset="0"/>
                <a:ea typeface="Open Sans" panose="020B0606030504020204" pitchFamily="34" charset="0"/>
                <a:cs typeface="Open Sans" panose="020B0606030504020204" pitchFamily="34" charset="0"/>
              </a:rPr>
              <a:t>Blue boxes do not represent a 1:1 mapping; multiple AI agents can be implemented within each capability or area.</a:t>
            </a:r>
          </a:p>
        </p:txBody>
      </p:sp>
      <p:grpSp>
        <p:nvGrpSpPr>
          <p:cNvPr id="56" name="Group 55">
            <a:extLst>
              <a:ext uri="{FF2B5EF4-FFF2-40B4-BE49-F238E27FC236}">
                <a16:creationId xmlns:a16="http://schemas.microsoft.com/office/drawing/2014/main" id="{9F2AFEBD-AFB2-3073-DC89-C7F9828B06A9}"/>
              </a:ext>
            </a:extLst>
          </p:cNvPr>
          <p:cNvGrpSpPr/>
          <p:nvPr/>
        </p:nvGrpSpPr>
        <p:grpSpPr>
          <a:xfrm>
            <a:off x="7980654" y="4595028"/>
            <a:ext cx="413418" cy="641203"/>
            <a:chOff x="4784792" y="4257774"/>
            <a:chExt cx="413418" cy="350792"/>
          </a:xfrm>
        </p:grpSpPr>
        <p:cxnSp>
          <p:nvCxnSpPr>
            <p:cNvPr id="65" name="Straight Arrow Connector 64">
              <a:extLst>
                <a:ext uri="{FF2B5EF4-FFF2-40B4-BE49-F238E27FC236}">
                  <a16:creationId xmlns:a16="http://schemas.microsoft.com/office/drawing/2014/main" id="{3A8D2171-791D-F09F-67F6-2A04F959F407}"/>
                </a:ext>
              </a:extLst>
            </p:cNvPr>
            <p:cNvCxnSpPr>
              <a:cxnSpLocks/>
            </p:cNvCxnSpPr>
            <p:nvPr/>
          </p:nvCxnSpPr>
          <p:spPr>
            <a:xfrm flipV="1">
              <a:off x="5073699" y="4258389"/>
              <a:ext cx="0" cy="350177"/>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66" name="Graphic 191" descr="Chevron arrows">
              <a:extLst>
                <a:ext uri="{FF2B5EF4-FFF2-40B4-BE49-F238E27FC236}">
                  <a16:creationId xmlns:a16="http://schemas.microsoft.com/office/drawing/2014/main" id="{B597E0C6-A19F-7DB5-0EA5-171678A3017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5034644" y="4304658"/>
              <a:ext cx="88074" cy="239059"/>
            </a:xfrm>
            <a:prstGeom prst="rect">
              <a:avLst/>
            </a:prstGeom>
          </p:spPr>
        </p:pic>
        <p:cxnSp>
          <p:nvCxnSpPr>
            <p:cNvPr id="70" name="Straight Arrow Connector 69">
              <a:extLst>
                <a:ext uri="{FF2B5EF4-FFF2-40B4-BE49-F238E27FC236}">
                  <a16:creationId xmlns:a16="http://schemas.microsoft.com/office/drawing/2014/main" id="{72A1812C-D9A7-2A11-6133-EBD74172ED62}"/>
                </a:ext>
              </a:extLst>
            </p:cNvPr>
            <p:cNvCxnSpPr>
              <a:cxnSpLocks/>
            </p:cNvCxnSpPr>
            <p:nvPr/>
          </p:nvCxnSpPr>
          <p:spPr>
            <a:xfrm>
              <a:off x="4907321" y="4257774"/>
              <a:ext cx="0" cy="347709"/>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77" name="Graphic 191" descr="Chevron arrows">
              <a:extLst>
                <a:ext uri="{FF2B5EF4-FFF2-40B4-BE49-F238E27FC236}">
                  <a16:creationId xmlns:a16="http://schemas.microsoft.com/office/drawing/2014/main" id="{FBFEB691-87A8-9DC0-CF15-2667A044A2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4860285" y="4302755"/>
              <a:ext cx="88074" cy="239059"/>
            </a:xfrm>
            <a:prstGeom prst="rect">
              <a:avLst/>
            </a:prstGeom>
          </p:spPr>
        </p:pic>
      </p:grpSp>
      <p:grpSp>
        <p:nvGrpSpPr>
          <p:cNvPr id="98" name="Group 97">
            <a:extLst>
              <a:ext uri="{FF2B5EF4-FFF2-40B4-BE49-F238E27FC236}">
                <a16:creationId xmlns:a16="http://schemas.microsoft.com/office/drawing/2014/main" id="{759845E9-F208-E6A6-144E-B096C4148200}"/>
              </a:ext>
            </a:extLst>
          </p:cNvPr>
          <p:cNvGrpSpPr/>
          <p:nvPr/>
        </p:nvGrpSpPr>
        <p:grpSpPr>
          <a:xfrm>
            <a:off x="3717184" y="4591111"/>
            <a:ext cx="413418" cy="641203"/>
            <a:chOff x="4784792" y="4257774"/>
            <a:chExt cx="413418" cy="350792"/>
          </a:xfrm>
        </p:grpSpPr>
        <p:cxnSp>
          <p:nvCxnSpPr>
            <p:cNvPr id="100" name="Straight Arrow Connector 99">
              <a:extLst>
                <a:ext uri="{FF2B5EF4-FFF2-40B4-BE49-F238E27FC236}">
                  <a16:creationId xmlns:a16="http://schemas.microsoft.com/office/drawing/2014/main" id="{2CE69BAE-EFFA-44A6-8549-D45791AAB4F4}"/>
                </a:ext>
              </a:extLst>
            </p:cNvPr>
            <p:cNvCxnSpPr>
              <a:cxnSpLocks/>
            </p:cNvCxnSpPr>
            <p:nvPr/>
          </p:nvCxnSpPr>
          <p:spPr>
            <a:xfrm flipV="1">
              <a:off x="5073699" y="4258389"/>
              <a:ext cx="0" cy="350177"/>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110" name="Graphic 191" descr="Chevron arrows">
              <a:extLst>
                <a:ext uri="{FF2B5EF4-FFF2-40B4-BE49-F238E27FC236}">
                  <a16:creationId xmlns:a16="http://schemas.microsoft.com/office/drawing/2014/main" id="{D28F93A8-FA2E-088C-35AC-C9817935F9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5034644" y="4304658"/>
              <a:ext cx="88074" cy="239059"/>
            </a:xfrm>
            <a:prstGeom prst="rect">
              <a:avLst/>
            </a:prstGeom>
          </p:spPr>
        </p:pic>
        <p:cxnSp>
          <p:nvCxnSpPr>
            <p:cNvPr id="111" name="Straight Arrow Connector 110">
              <a:extLst>
                <a:ext uri="{FF2B5EF4-FFF2-40B4-BE49-F238E27FC236}">
                  <a16:creationId xmlns:a16="http://schemas.microsoft.com/office/drawing/2014/main" id="{5FC618D1-A67B-A672-79C5-936BDB6129BB}"/>
                </a:ext>
              </a:extLst>
            </p:cNvPr>
            <p:cNvCxnSpPr>
              <a:cxnSpLocks/>
            </p:cNvCxnSpPr>
            <p:nvPr/>
          </p:nvCxnSpPr>
          <p:spPr>
            <a:xfrm>
              <a:off x="4907321" y="4257774"/>
              <a:ext cx="0" cy="347709"/>
            </a:xfrm>
            <a:prstGeom prst="straightConnector1">
              <a:avLst/>
            </a:prstGeom>
            <a:ln w="3175">
              <a:solidFill>
                <a:srgbClr val="000000"/>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112" name="Graphic 191" descr="Chevron arrows">
              <a:extLst>
                <a:ext uri="{FF2B5EF4-FFF2-40B4-BE49-F238E27FC236}">
                  <a16:creationId xmlns:a16="http://schemas.microsoft.com/office/drawing/2014/main" id="{D2984478-E1CD-3DCA-A7BA-BE89C60A6D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4860285" y="4302755"/>
              <a:ext cx="88074" cy="239059"/>
            </a:xfrm>
            <a:prstGeom prst="rect">
              <a:avLst/>
            </a:prstGeom>
          </p:spPr>
        </p:pic>
      </p:grpSp>
      <p:pic>
        <p:nvPicPr>
          <p:cNvPr id="114" name="Graphic 113" descr="Brain in head with solid fill">
            <a:extLst>
              <a:ext uri="{FF2B5EF4-FFF2-40B4-BE49-F238E27FC236}">
                <a16:creationId xmlns:a16="http://schemas.microsoft.com/office/drawing/2014/main" id="{6141DC9B-7EF2-EF12-5C2C-6E929F05A73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4681379" y="4184167"/>
            <a:ext cx="137160" cy="137160"/>
          </a:xfrm>
          <a:prstGeom prst="rect">
            <a:avLst/>
          </a:prstGeom>
        </p:spPr>
      </p:pic>
      <p:cxnSp>
        <p:nvCxnSpPr>
          <p:cNvPr id="123" name="iBar:53/50">
            <a:extLst>
              <a:ext uri="{FF2B5EF4-FFF2-40B4-BE49-F238E27FC236}">
                <a16:creationId xmlns:a16="http://schemas.microsoft.com/office/drawing/2014/main" id="{A0060781-0DF3-F670-05BA-392907668DF5}"/>
              </a:ext>
            </a:extLst>
          </p:cNvPr>
          <p:cNvCxnSpPr>
            <a:cxnSpLocks/>
          </p:cNvCxnSpPr>
          <p:nvPr/>
        </p:nvCxnSpPr>
        <p:spPr>
          <a:xfrm>
            <a:off x="231429" y="875058"/>
            <a:ext cx="11612880" cy="0"/>
          </a:xfrm>
          <a:prstGeom prst="line">
            <a:avLst/>
          </a:prstGeom>
          <a:ln w="12700" cmpd="sng">
            <a:solidFill>
              <a:srgbClr val="002776"/>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5" name="TxtBox:53/50">
            <a:extLst>
              <a:ext uri="{FF2B5EF4-FFF2-40B4-BE49-F238E27FC236}">
                <a16:creationId xmlns:a16="http://schemas.microsoft.com/office/drawing/2014/main" id="{C41F77D2-518F-54A4-A4B0-F18F3D59B999}"/>
              </a:ext>
            </a:extLst>
          </p:cNvPr>
          <p:cNvSpPr/>
          <p:nvPr/>
        </p:nvSpPr>
        <p:spPr>
          <a:xfrm>
            <a:off x="1141839" y="655279"/>
            <a:ext cx="555881" cy="43933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non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Input</a:t>
            </a:r>
          </a:p>
        </p:txBody>
      </p:sp>
      <p:sp>
        <p:nvSpPr>
          <p:cNvPr id="129" name="TxtBox:53/50">
            <a:extLst>
              <a:ext uri="{FF2B5EF4-FFF2-40B4-BE49-F238E27FC236}">
                <a16:creationId xmlns:a16="http://schemas.microsoft.com/office/drawing/2014/main" id="{B1EF3B7A-8304-82D3-E770-BE62D7A8B7B9}"/>
              </a:ext>
            </a:extLst>
          </p:cNvPr>
          <p:cNvSpPr/>
          <p:nvPr/>
        </p:nvSpPr>
        <p:spPr>
          <a:xfrm>
            <a:off x="6065221" y="697211"/>
            <a:ext cx="1065134" cy="35546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non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Processing</a:t>
            </a:r>
          </a:p>
        </p:txBody>
      </p:sp>
      <p:sp>
        <p:nvSpPr>
          <p:cNvPr id="131" name="TxtBox:53/50">
            <a:extLst>
              <a:ext uri="{FF2B5EF4-FFF2-40B4-BE49-F238E27FC236}">
                <a16:creationId xmlns:a16="http://schemas.microsoft.com/office/drawing/2014/main" id="{2370EAA3-2F4D-191A-212E-D36A9DE6FCF5}"/>
              </a:ext>
            </a:extLst>
          </p:cNvPr>
          <p:cNvSpPr/>
          <p:nvPr/>
        </p:nvSpPr>
        <p:spPr>
          <a:xfrm>
            <a:off x="10778903" y="795636"/>
            <a:ext cx="816888" cy="136015"/>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non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Output</a:t>
            </a:r>
          </a:p>
        </p:txBody>
      </p:sp>
      <p:pic>
        <p:nvPicPr>
          <p:cNvPr id="35" name="Graphic 34" descr="Brain in head with solid fill">
            <a:extLst>
              <a:ext uri="{FF2B5EF4-FFF2-40B4-BE49-F238E27FC236}">
                <a16:creationId xmlns:a16="http://schemas.microsoft.com/office/drawing/2014/main" id="{6069CA75-5FCA-1008-0962-FE3DCDA9AE6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6431075" y="4187750"/>
            <a:ext cx="137160" cy="137160"/>
          </a:xfrm>
          <a:prstGeom prst="rect">
            <a:avLst/>
          </a:prstGeom>
        </p:spPr>
      </p:pic>
    </p:spTree>
    <p:extLst>
      <p:ext uri="{BB962C8B-B14F-4D97-AF65-F5344CB8AC3E}">
        <p14:creationId xmlns:p14="http://schemas.microsoft.com/office/powerpoint/2010/main" val="3167319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332505-8476-F0F6-235D-2F49F5CA3844}"/>
              </a:ext>
            </a:extLst>
          </p:cNvPr>
          <p:cNvSpPr/>
          <p:nvPr/>
        </p:nvSpPr>
        <p:spPr bwMode="gray">
          <a:xfrm>
            <a:off x="166977" y="6249725"/>
            <a:ext cx="1447138" cy="6082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
        <p:nvSpPr>
          <p:cNvPr id="2" name="Text Placeholder 1">
            <a:extLst>
              <a:ext uri="{FF2B5EF4-FFF2-40B4-BE49-F238E27FC236}">
                <a16:creationId xmlns:a16="http://schemas.microsoft.com/office/drawing/2014/main" id="{19D5D1D2-B4E1-94B7-C2F4-0CBB1E4E2D3C}"/>
              </a:ext>
            </a:extLst>
          </p:cNvPr>
          <p:cNvSpPr>
            <a:spLocks noGrp="1"/>
          </p:cNvSpPr>
          <p:nvPr>
            <p:ph type="body" sz="quarter" idx="13"/>
          </p:nvPr>
        </p:nvSpPr>
        <p:spPr>
          <a:xfrm>
            <a:off x="463295" y="827471"/>
            <a:ext cx="11277600" cy="527237"/>
          </a:xfrm>
        </p:spPr>
        <p:txBody>
          <a:bodyPr/>
          <a:lstStyle/>
          <a:p>
            <a:r>
              <a:rPr lang="en-US" sz="1400">
                <a:solidFill>
                  <a:schemeClr val="tx1"/>
                </a:solidFill>
                <a:latin typeface="Open Sans" panose="020B0606030504020204" pitchFamily="34" charset="0"/>
                <a:ea typeface="Open Sans" panose="020B0606030504020204" pitchFamily="34" charset="0"/>
                <a:cs typeface="Open Sans" panose="020B0606030504020204" pitchFamily="34" charset="0"/>
              </a:rPr>
              <a:t>Different data governance tools have similar overall functions but offer various capabilities and features.</a:t>
            </a:r>
          </a:p>
        </p:txBody>
      </p:sp>
      <p:sp>
        <p:nvSpPr>
          <p:cNvPr id="3" name="Title 2">
            <a:extLst>
              <a:ext uri="{FF2B5EF4-FFF2-40B4-BE49-F238E27FC236}">
                <a16:creationId xmlns:a16="http://schemas.microsoft.com/office/drawing/2014/main" id="{37E7381F-C6AB-ABD1-3AC8-67F7C488D905}"/>
              </a:ext>
            </a:extLst>
          </p:cNvPr>
          <p:cNvSpPr>
            <a:spLocks noGrp="1"/>
          </p:cNvSpPr>
          <p:nvPr>
            <p:ph type="title"/>
          </p:nvPr>
        </p:nvSpPr>
        <p:spPr>
          <a:xfrm>
            <a:off x="463295" y="345992"/>
            <a:ext cx="11277600" cy="332399"/>
          </a:xfrm>
        </p:spPr>
        <p:txBody>
          <a:bodyPr/>
          <a:lstStyle/>
          <a:p>
            <a:r>
              <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rPr>
              <a:t>Tool Overview</a:t>
            </a:r>
          </a:p>
        </p:txBody>
      </p:sp>
      <p:sp>
        <p:nvSpPr>
          <p:cNvPr id="6" name="Rectangle: Rounded Corners 5">
            <a:extLst>
              <a:ext uri="{FF2B5EF4-FFF2-40B4-BE49-F238E27FC236}">
                <a16:creationId xmlns:a16="http://schemas.microsoft.com/office/drawing/2014/main" id="{1837BDA4-ACE0-4E97-C6CC-19B945661374}"/>
              </a:ext>
            </a:extLst>
          </p:cNvPr>
          <p:cNvSpPr/>
          <p:nvPr/>
        </p:nvSpPr>
        <p:spPr>
          <a:xfrm>
            <a:off x="249401" y="3079349"/>
            <a:ext cx="3659972" cy="3305594"/>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TextBox 6">
            <a:extLst>
              <a:ext uri="{FF2B5EF4-FFF2-40B4-BE49-F238E27FC236}">
                <a16:creationId xmlns:a16="http://schemas.microsoft.com/office/drawing/2014/main" id="{12A8690F-DE91-2B98-B9A9-A24CA0F6D5E3}"/>
              </a:ext>
            </a:extLst>
          </p:cNvPr>
          <p:cNvSpPr txBox="1"/>
          <p:nvPr/>
        </p:nvSpPr>
        <p:spPr>
          <a:xfrm>
            <a:off x="344548" y="3396183"/>
            <a:ext cx="3430865" cy="2893103"/>
          </a:xfrm>
          <a:prstGeom prst="rect">
            <a:avLst/>
          </a:prstGeom>
          <a:noFill/>
        </p:spPr>
        <p:txBody>
          <a:bodyPr wrap="square" rtlCol="0">
            <a:spAutoFit/>
          </a:bodyPr>
          <a:lstStyle/>
          <a:p>
            <a:pPr algn="ctr">
              <a:spcAft>
                <a:spcPts val="2400"/>
              </a:spcAft>
            </a:pPr>
            <a:r>
              <a:rPr lang="en-US" sz="1400">
                <a:solidFill>
                  <a:srgbClr val="000000"/>
                </a:solidFill>
                <a:latin typeface="Open Sans" panose="020B0606030504020204" pitchFamily="34" charset="0"/>
              </a:rPr>
              <a:t>Collibra's data governance platform offers automated data cataloging, end-to-end data lineage, robust data quality management, and policy enforcement. It supports role-based access, stewardship workflows, and provides collaboration tools and a centralized business glossary. With customizable dashboards and integration capabilities, Collibra ensures data accuracy, compliance, and efficient decision-making across the organization.</a:t>
            </a:r>
          </a:p>
        </p:txBody>
      </p:sp>
      <p:sp>
        <p:nvSpPr>
          <p:cNvPr id="10" name="Rectangle: Rounded Corners 9">
            <a:extLst>
              <a:ext uri="{FF2B5EF4-FFF2-40B4-BE49-F238E27FC236}">
                <a16:creationId xmlns:a16="http://schemas.microsoft.com/office/drawing/2014/main" id="{E64BCD34-F10E-4518-25EE-8346942885F6}"/>
              </a:ext>
            </a:extLst>
          </p:cNvPr>
          <p:cNvSpPr/>
          <p:nvPr/>
        </p:nvSpPr>
        <p:spPr>
          <a:xfrm>
            <a:off x="4100091" y="3077123"/>
            <a:ext cx="3659972" cy="3291680"/>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TextBox 10">
            <a:extLst>
              <a:ext uri="{FF2B5EF4-FFF2-40B4-BE49-F238E27FC236}">
                <a16:creationId xmlns:a16="http://schemas.microsoft.com/office/drawing/2014/main" id="{21A233B2-81A6-272A-3960-48FEA5C322D2}"/>
              </a:ext>
            </a:extLst>
          </p:cNvPr>
          <p:cNvSpPr txBox="1"/>
          <p:nvPr/>
        </p:nvSpPr>
        <p:spPr>
          <a:xfrm>
            <a:off x="4150084" y="3396183"/>
            <a:ext cx="3559986" cy="2462213"/>
          </a:xfrm>
          <a:prstGeom prst="rect">
            <a:avLst/>
          </a:prstGeom>
          <a:noFill/>
        </p:spPr>
        <p:txBody>
          <a:bodyPr wrap="square" rtlCol="0" anchor="ctr">
            <a:spAutoFit/>
          </a:bodyPr>
          <a:lstStyle/>
          <a:p>
            <a:pPr algn="ctr">
              <a:spcAft>
                <a:spcPts val="2400"/>
              </a:spcAft>
            </a:pPr>
            <a:r>
              <a:rPr lang="en-US" sz="1400" b="0" i="0">
                <a:solidFill>
                  <a:srgbClr val="000000"/>
                </a:solidFill>
                <a:effectLst/>
                <a:latin typeface="Open Sans" panose="020B0606030504020204" pitchFamily="34" charset="0"/>
              </a:rPr>
              <a:t>Alation's data governance capabilities include automated data cataloging, data lineage tracking, and data stewardship workflows. It provides robust metadata management, policy enforcement, and role-based access control. Alation also offers collaboration tools, a business glossary, and data quality management features to ensure data accuracy, compliance, and effective decision-making.</a:t>
            </a:r>
          </a:p>
        </p:txBody>
      </p:sp>
      <p:sp>
        <p:nvSpPr>
          <p:cNvPr id="13" name="Rectangle: Rounded Corners 12">
            <a:extLst>
              <a:ext uri="{FF2B5EF4-FFF2-40B4-BE49-F238E27FC236}">
                <a16:creationId xmlns:a16="http://schemas.microsoft.com/office/drawing/2014/main" id="{5C3DB967-D870-04D9-88FE-53411027C252}"/>
              </a:ext>
            </a:extLst>
          </p:cNvPr>
          <p:cNvSpPr/>
          <p:nvPr/>
        </p:nvSpPr>
        <p:spPr>
          <a:xfrm>
            <a:off x="8080923" y="3079350"/>
            <a:ext cx="3659972" cy="3305593"/>
          </a:xfrm>
          <a:prstGeom prst="round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TextBox 13">
            <a:extLst>
              <a:ext uri="{FF2B5EF4-FFF2-40B4-BE49-F238E27FC236}">
                <a16:creationId xmlns:a16="http://schemas.microsoft.com/office/drawing/2014/main" id="{5D1B5A7F-9C74-35E4-E931-95149904BF9F}"/>
              </a:ext>
            </a:extLst>
          </p:cNvPr>
          <p:cNvSpPr txBox="1"/>
          <p:nvPr/>
        </p:nvSpPr>
        <p:spPr>
          <a:xfrm>
            <a:off x="8080923" y="3396183"/>
            <a:ext cx="3659972" cy="2462212"/>
          </a:xfrm>
          <a:prstGeom prst="rect">
            <a:avLst/>
          </a:prstGeom>
          <a:noFill/>
        </p:spPr>
        <p:txBody>
          <a:bodyPr wrap="square" rtlCol="0" anchor="ctr">
            <a:spAutoFit/>
          </a:bodyPr>
          <a:lstStyle/>
          <a:p>
            <a:pPr algn="ctr">
              <a:spcAft>
                <a:spcPts val="2400"/>
              </a:spcAft>
            </a:pPr>
            <a:r>
              <a:rPr lang="en-US" sz="1400" b="0" i="0">
                <a:solidFill>
                  <a:srgbClr val="000000"/>
                </a:solidFill>
                <a:effectLst/>
                <a:latin typeface="Open Sans" panose="020B0606030504020204" pitchFamily="34" charset="0"/>
              </a:rPr>
              <a:t>Informatica's data governance capabilities include automated data discovery, comprehensive metadata management, and robust data quality tools. It offers end-to-end data lineage, policy enforcement, and role-based access control. The platform supports collaboration through a business glossary and stewardship workflows, ensuring data accuracy, compliance, and effective decision-making across the organization.</a:t>
            </a:r>
          </a:p>
        </p:txBody>
      </p:sp>
      <p:pic>
        <p:nvPicPr>
          <p:cNvPr id="4" name="Picture 4">
            <a:extLst>
              <a:ext uri="{FF2B5EF4-FFF2-40B4-BE49-F238E27FC236}">
                <a16:creationId xmlns:a16="http://schemas.microsoft.com/office/drawing/2014/main" id="{AA156DFC-7A08-F179-821A-477DFE6B229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1099374" y="2505811"/>
            <a:ext cx="1850265" cy="49028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lation Named One of Inc. Magazine’s Best Workplaces 2021 | Business Wire">
            <a:extLst>
              <a:ext uri="{FF2B5EF4-FFF2-40B4-BE49-F238E27FC236}">
                <a16:creationId xmlns:a16="http://schemas.microsoft.com/office/drawing/2014/main" id="{DE926209-FF0C-F78D-E73E-5BB493DD0C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965084" y="2577077"/>
            <a:ext cx="2005109" cy="3996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a:extLst>
              <a:ext uri="{FF2B5EF4-FFF2-40B4-BE49-F238E27FC236}">
                <a16:creationId xmlns:a16="http://schemas.microsoft.com/office/drawing/2014/main" id="{76322554-D018-5EDA-5EF0-355B7431AA1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13" t="23085" r="573" b="26127"/>
          <a:stretch/>
        </p:blipFill>
        <p:spPr bwMode="auto">
          <a:xfrm>
            <a:off x="8778212" y="2323660"/>
            <a:ext cx="2314414" cy="672436"/>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D969397D-22F5-6C0C-B6FC-A245426EF688}"/>
              </a:ext>
            </a:extLst>
          </p:cNvPr>
          <p:cNvGrpSpPr/>
          <p:nvPr/>
        </p:nvGrpSpPr>
        <p:grpSpPr>
          <a:xfrm>
            <a:off x="477676" y="1216539"/>
            <a:ext cx="10928168" cy="81025"/>
            <a:chOff x="477676" y="1216539"/>
            <a:chExt cx="10928168" cy="81025"/>
          </a:xfrm>
        </p:grpSpPr>
        <p:cxnSp>
          <p:nvCxnSpPr>
            <p:cNvPr id="16" name="Straight Connector 15">
              <a:extLst>
                <a:ext uri="{FF2B5EF4-FFF2-40B4-BE49-F238E27FC236}">
                  <a16:creationId xmlns:a16="http://schemas.microsoft.com/office/drawing/2014/main" id="{D0CF3A73-8A17-BE0A-A29B-B9EE50F882D5}"/>
                </a:ext>
              </a:extLst>
            </p:cNvPr>
            <p:cNvCxnSpPr>
              <a:cxnSpLocks/>
            </p:cNvCxnSpPr>
            <p:nvPr/>
          </p:nvCxnSpPr>
          <p:spPr>
            <a:xfrm>
              <a:off x="498356" y="1260520"/>
              <a:ext cx="10907488" cy="0"/>
            </a:xfrm>
            <a:prstGeom prst="line">
              <a:avLst/>
            </a:prstGeom>
            <a:noFill/>
            <a:ln w="19050" cap="flat" cmpd="sng" algn="ctr">
              <a:solidFill>
                <a:srgbClr val="9D9D9D"/>
              </a:solidFill>
              <a:prstDash val="solid"/>
            </a:ln>
            <a:effectLst/>
          </p:spPr>
        </p:cxnSp>
        <p:sp>
          <p:nvSpPr>
            <p:cNvPr id="17" name="Oval 16">
              <a:extLst>
                <a:ext uri="{FF2B5EF4-FFF2-40B4-BE49-F238E27FC236}">
                  <a16:creationId xmlns:a16="http://schemas.microsoft.com/office/drawing/2014/main" id="{DA39C8D3-700A-9F4B-76A9-5C0C668BD5A9}"/>
                </a:ext>
              </a:extLst>
            </p:cNvPr>
            <p:cNvSpPr/>
            <p:nvPr/>
          </p:nvSpPr>
          <p:spPr bwMode="gray">
            <a:xfrm>
              <a:off x="477676" y="1216539"/>
              <a:ext cx="81025" cy="81025"/>
            </a:xfrm>
            <a:prstGeom prst="ellipse">
              <a:avLst/>
            </a:prstGeom>
            <a:solidFill>
              <a:srgbClr val="BEBEB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600" b="1">
                <a:solidFill>
                  <a:srgbClr val="FFFFFF"/>
                </a:solidFill>
                <a:latin typeface="Open Sans"/>
              </a:endParaRPr>
            </a:p>
          </p:txBody>
        </p:sp>
      </p:grpSp>
      <p:sp>
        <p:nvSpPr>
          <p:cNvPr id="21" name="Text Placeholder 1">
            <a:extLst>
              <a:ext uri="{FF2B5EF4-FFF2-40B4-BE49-F238E27FC236}">
                <a16:creationId xmlns:a16="http://schemas.microsoft.com/office/drawing/2014/main" id="{4E1243A1-5198-2441-9D74-5D35BD5F6F5A}"/>
              </a:ext>
            </a:extLst>
          </p:cNvPr>
          <p:cNvSpPr txBox="1">
            <a:spLocks/>
          </p:cNvSpPr>
          <p:nvPr/>
        </p:nvSpPr>
        <p:spPr bwMode="auto">
          <a:xfrm>
            <a:off x="509495" y="1427815"/>
            <a:ext cx="10916289" cy="585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defTabSz="1217613" rtl="0" eaLnBrk="1" fontAlgn="base" hangingPunct="1">
              <a:spcBef>
                <a:spcPct val="0"/>
              </a:spcBef>
              <a:spcAft>
                <a:spcPts val="600"/>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algn="l" defTabSz="1217613" rtl="0" eaLnBrk="1" fontAlgn="base" hangingPunct="1">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90000"/>
              </a:lnSpc>
            </a:pPr>
            <a:r>
              <a:rPr lang="en-US" sz="1400">
                <a:solidFill>
                  <a:srgbClr val="000000"/>
                </a:solidFill>
                <a:latin typeface="Open Sans"/>
              </a:rPr>
              <a:t>The commonly used tools listed below offer a comprehensive and collaborative platform for data governance. They help automate tasks such as data lineage, data cataloging, and data discovery. They are ideal and popular choices for organizations looking for a complete data management suite that ensures strong data quality, effective metadata management, and scalability.</a:t>
            </a:r>
          </a:p>
          <a:p>
            <a:pPr>
              <a:defRPr/>
            </a:pPr>
            <a:endParaRPr lang="en-US" sz="1400">
              <a:solidFill>
                <a:srgbClr val="000000"/>
              </a:solidFill>
              <a:latin typeface="Open Sans"/>
            </a:endParaRPr>
          </a:p>
        </p:txBody>
      </p:sp>
      <p:grpSp>
        <p:nvGrpSpPr>
          <p:cNvPr id="23" name="Group 22">
            <a:extLst>
              <a:ext uri="{FF2B5EF4-FFF2-40B4-BE49-F238E27FC236}">
                <a16:creationId xmlns:a16="http://schemas.microsoft.com/office/drawing/2014/main" id="{FC4C4C62-E742-8EB8-CB96-E91E3AFB8931}"/>
              </a:ext>
            </a:extLst>
          </p:cNvPr>
          <p:cNvGrpSpPr/>
          <p:nvPr/>
        </p:nvGrpSpPr>
        <p:grpSpPr>
          <a:xfrm>
            <a:off x="494280" y="2110012"/>
            <a:ext cx="10931504" cy="81025"/>
            <a:chOff x="498356" y="1220444"/>
            <a:chExt cx="10931504" cy="81025"/>
          </a:xfrm>
        </p:grpSpPr>
        <p:cxnSp>
          <p:nvCxnSpPr>
            <p:cNvPr id="24" name="Straight Connector 23">
              <a:extLst>
                <a:ext uri="{FF2B5EF4-FFF2-40B4-BE49-F238E27FC236}">
                  <a16:creationId xmlns:a16="http://schemas.microsoft.com/office/drawing/2014/main" id="{B214D580-224B-C2C0-92AB-DCD0BFFDE890}"/>
                </a:ext>
              </a:extLst>
            </p:cNvPr>
            <p:cNvCxnSpPr>
              <a:cxnSpLocks/>
            </p:cNvCxnSpPr>
            <p:nvPr/>
          </p:nvCxnSpPr>
          <p:spPr>
            <a:xfrm>
              <a:off x="498356" y="1260520"/>
              <a:ext cx="10907488" cy="0"/>
            </a:xfrm>
            <a:prstGeom prst="line">
              <a:avLst/>
            </a:prstGeom>
            <a:noFill/>
            <a:ln w="19050" cap="flat" cmpd="sng" algn="ctr">
              <a:solidFill>
                <a:srgbClr val="9D9D9D"/>
              </a:solidFill>
              <a:prstDash val="solid"/>
            </a:ln>
            <a:effectLst/>
          </p:spPr>
        </p:cxnSp>
        <p:sp>
          <p:nvSpPr>
            <p:cNvPr id="26" name="Oval 25">
              <a:extLst>
                <a:ext uri="{FF2B5EF4-FFF2-40B4-BE49-F238E27FC236}">
                  <a16:creationId xmlns:a16="http://schemas.microsoft.com/office/drawing/2014/main" id="{1B6C76F7-842E-1708-8A1F-4D0009B98302}"/>
                </a:ext>
              </a:extLst>
            </p:cNvPr>
            <p:cNvSpPr/>
            <p:nvPr/>
          </p:nvSpPr>
          <p:spPr bwMode="gray">
            <a:xfrm>
              <a:off x="11348835" y="1220444"/>
              <a:ext cx="81025" cy="81025"/>
            </a:xfrm>
            <a:prstGeom prst="ellipse">
              <a:avLst/>
            </a:prstGeom>
            <a:solidFill>
              <a:srgbClr val="BEBEB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600" b="1">
                <a:solidFill>
                  <a:srgbClr val="FFFFFF"/>
                </a:solidFill>
                <a:latin typeface="Open Sans"/>
              </a:endParaRPr>
            </a:p>
          </p:txBody>
        </p:sp>
      </p:grpSp>
    </p:spTree>
    <p:extLst>
      <p:ext uri="{BB962C8B-B14F-4D97-AF65-F5344CB8AC3E}">
        <p14:creationId xmlns:p14="http://schemas.microsoft.com/office/powerpoint/2010/main" val="50266872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6475B64-E241-1839-CC56-0EE6AB0B3566}"/>
              </a:ext>
            </a:extLst>
          </p:cNvPr>
          <p:cNvSpPr/>
          <p:nvPr/>
        </p:nvSpPr>
        <p:spPr bwMode="gray">
          <a:xfrm>
            <a:off x="166977" y="6249725"/>
            <a:ext cx="1447138" cy="6082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
        <p:nvSpPr>
          <p:cNvPr id="3" name="Title 2">
            <a:extLst>
              <a:ext uri="{FF2B5EF4-FFF2-40B4-BE49-F238E27FC236}">
                <a16:creationId xmlns:a16="http://schemas.microsoft.com/office/drawing/2014/main" id="{E587D29C-8BA8-4529-D4ED-05DB725D40EF}"/>
              </a:ext>
            </a:extLst>
          </p:cNvPr>
          <p:cNvSpPr>
            <a:spLocks noGrp="1"/>
          </p:cNvSpPr>
          <p:nvPr>
            <p:ph type="title"/>
          </p:nvPr>
        </p:nvSpPr>
        <p:spPr>
          <a:xfrm>
            <a:off x="463295" y="345992"/>
            <a:ext cx="11277600" cy="332399"/>
          </a:xfrm>
        </p:spPr>
        <p:txBody>
          <a:bodyPr/>
          <a:lstStyle/>
          <a:p>
            <a:r>
              <a:rPr lang="en-US" sz="2400">
                <a:latin typeface="Open Sans" panose="020B0606030504020204" pitchFamily="34" charset="0"/>
                <a:ea typeface="Open Sans" panose="020B0606030504020204" pitchFamily="34" charset="0"/>
                <a:cs typeface="Open Sans" panose="020B0606030504020204" pitchFamily="34" charset="0"/>
              </a:rPr>
              <a:t>Tool Overview</a:t>
            </a:r>
          </a:p>
        </p:txBody>
      </p:sp>
      <p:graphicFrame>
        <p:nvGraphicFramePr>
          <p:cNvPr id="4" name="Table 3">
            <a:extLst>
              <a:ext uri="{FF2B5EF4-FFF2-40B4-BE49-F238E27FC236}">
                <a16:creationId xmlns:a16="http://schemas.microsoft.com/office/drawing/2014/main" id="{D1B60A2D-9640-3F2F-389A-76A5C597E111}"/>
              </a:ext>
            </a:extLst>
          </p:cNvPr>
          <p:cNvGraphicFramePr>
            <a:graphicFrameLocks noGrp="1"/>
          </p:cNvGraphicFramePr>
          <p:nvPr>
            <p:extLst>
              <p:ext uri="{D42A27DB-BD31-4B8C-83A1-F6EECF244321}">
                <p14:modId xmlns:p14="http://schemas.microsoft.com/office/powerpoint/2010/main" val="2751629232"/>
              </p:ext>
            </p:extLst>
          </p:nvPr>
        </p:nvGraphicFramePr>
        <p:xfrm>
          <a:off x="463295" y="673475"/>
          <a:ext cx="11520158" cy="5920565"/>
        </p:xfrm>
        <a:graphic>
          <a:graphicData uri="http://schemas.openxmlformats.org/drawingml/2006/table">
            <a:tbl>
              <a:tblPr/>
              <a:tblGrid>
                <a:gridCol w="1139363">
                  <a:extLst>
                    <a:ext uri="{9D8B030D-6E8A-4147-A177-3AD203B41FA5}">
                      <a16:colId xmlns:a16="http://schemas.microsoft.com/office/drawing/2014/main" val="2764710785"/>
                    </a:ext>
                  </a:extLst>
                </a:gridCol>
                <a:gridCol w="1052052">
                  <a:extLst>
                    <a:ext uri="{9D8B030D-6E8A-4147-A177-3AD203B41FA5}">
                      <a16:colId xmlns:a16="http://schemas.microsoft.com/office/drawing/2014/main" val="3911022253"/>
                    </a:ext>
                  </a:extLst>
                </a:gridCol>
                <a:gridCol w="1097280">
                  <a:extLst>
                    <a:ext uri="{9D8B030D-6E8A-4147-A177-3AD203B41FA5}">
                      <a16:colId xmlns:a16="http://schemas.microsoft.com/office/drawing/2014/main" val="2498443881"/>
                    </a:ext>
                  </a:extLst>
                </a:gridCol>
                <a:gridCol w="1120878">
                  <a:extLst>
                    <a:ext uri="{9D8B030D-6E8A-4147-A177-3AD203B41FA5}">
                      <a16:colId xmlns:a16="http://schemas.microsoft.com/office/drawing/2014/main" val="1591296903"/>
                    </a:ext>
                  </a:extLst>
                </a:gridCol>
                <a:gridCol w="7110585">
                  <a:extLst>
                    <a:ext uri="{9D8B030D-6E8A-4147-A177-3AD203B41FA5}">
                      <a16:colId xmlns:a16="http://schemas.microsoft.com/office/drawing/2014/main" val="3179374466"/>
                    </a:ext>
                  </a:extLst>
                </a:gridCol>
              </a:tblGrid>
              <a:tr h="190325">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91440" algn="ctr" rtl="0" fontAlgn="ctr"/>
                      <a:r>
                        <a:rPr lang="en-US" sz="1200" b="1" i="0" u="none" strike="noStrike">
                          <a:solidFill>
                            <a:srgbClr val="FFFFFF"/>
                          </a:solidFill>
                          <a:effectLst/>
                          <a:latin typeface="Open Sans" panose="020B0606030504020204" pitchFamily="34" charset="0"/>
                          <a:ea typeface="Open Sans" panose="020B0606030504020204" pitchFamily="34" charset="0"/>
                          <a:cs typeface="Open Sans" panose="020B0606030504020204" pitchFamily="34" charset="0"/>
                        </a:rPr>
                        <a:t>Use Cas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fontAlgn="ctr"/>
                      <a:r>
                        <a:rPr lang="en-US" sz="12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Collibra</a:t>
                      </a:r>
                    </a:p>
                  </a:txBody>
                  <a:tcPr marL="0" marR="0" marT="0"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fontAlgn="ctr"/>
                      <a:r>
                        <a:rPr lang="en-US" sz="12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Al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fontAlgn="ctr"/>
                      <a:r>
                        <a:rPr lang="en-US" sz="12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Informatic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lumMod val="90000"/>
                        <a:lumOff val="1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fontAlgn="ctr"/>
                      <a:r>
                        <a:rPr lang="en-US" sz="120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I Capabilities for Each Tool</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4050696545"/>
                  </a:ext>
                </a:extLst>
              </a:tr>
              <a:tr h="863262">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ctr" rtl="0"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etadata Managemen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1905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1450" indent="-171450" algn="l" rtl="0" fontAlgn="b">
                        <a:lnSpc>
                          <a:spcPct val="100000"/>
                        </a:lnSpc>
                        <a:spcBef>
                          <a:spcPts val="100"/>
                        </a:spcBef>
                        <a:spcAft>
                          <a:spcPts val="150"/>
                        </a:spcAft>
                        <a:buFont typeface="Arial" panose="020B0604020202020204" pitchFamily="34" charset="0"/>
                        <a:buChar char="•"/>
                      </a:pPr>
                      <a:r>
                        <a:rPr lang="en-US" sz="1000" b="1" i="0" u="none" strike="noStrike" dirty="0">
                          <a:solidFill>
                            <a:srgbClr val="0076A8"/>
                          </a:solidFill>
                          <a:effectLst/>
                          <a:latin typeface="Open Sans" panose="020B0606030504020204" pitchFamily="34" charset="0"/>
                          <a:ea typeface="Open Sans" panose="020B0606030504020204" pitchFamily="34" charset="0"/>
                          <a:cs typeface="Open Sans" panose="020B0606030504020204" pitchFamily="34" charset="0"/>
                        </a:rPr>
                        <a:t>Collibr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Supports automated data cataloging, automated asset curation, and NLP search capabilities.</a:t>
                      </a:r>
                    </a:p>
                    <a:p>
                      <a:pPr marL="171450" indent="-171450"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accent2">
                              <a:lumMod val="75000"/>
                            </a:schemeClr>
                          </a:solidFill>
                          <a:effectLst/>
                          <a:latin typeface="Open Sans" panose="020B0606030504020204" pitchFamily="34" charset="0"/>
                          <a:ea typeface="Open Sans" panose="020B0606030504020204" pitchFamily="34" charset="0"/>
                          <a:cs typeface="Open Sans" panose="020B0606030504020204" pitchFamily="34" charset="0"/>
                        </a:rPr>
                        <a:t>Alation</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Uses Behavior I/O, an </a:t>
                      </a: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I-powered engine to automatically identify meaningful patterns about how data Us being used, then giving users recommendations.</a:t>
                      </a:r>
                    </a:p>
                    <a:p>
                      <a:pPr marL="171450" indent="-171450"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tx2"/>
                          </a:solidFill>
                          <a:effectLst/>
                          <a:latin typeface="Open Sans" panose="020B0606030504020204" pitchFamily="34" charset="0"/>
                          <a:ea typeface="Open Sans" panose="020B0606030504020204" pitchFamily="34" charset="0"/>
                          <a:cs typeface="Open Sans" panose="020B0606030504020204" pitchFamily="34" charset="0"/>
                        </a:rPr>
                        <a:t>Informatic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Uses active metadata management to create predictive recommendations, supports automated data cataloging and NLP search.</a:t>
                      </a:r>
                    </a:p>
                  </a:txBody>
                  <a:tcPr marL="45720" marR="45720" anchor="ctr">
                    <a:lnL w="9525"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3333151"/>
                  </a:ext>
                </a:extLst>
              </a:tr>
              <a:tr h="1006006">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ctr" rtl="0"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ata Quality</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1905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rgbClr val="0076A8"/>
                          </a:solidFill>
                          <a:effectLst/>
                          <a:latin typeface="Open Sans" panose="020B0606030504020204" pitchFamily="34" charset="0"/>
                          <a:ea typeface="Open Sans" panose="020B0606030504020204" pitchFamily="34" charset="0"/>
                          <a:cs typeface="Open Sans" panose="020B0606030504020204" pitchFamily="34" charset="0"/>
                        </a:rPr>
                        <a:t>Collibr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Has AI/GenAi-generated </a:t>
                      </a:r>
                      <a:r>
                        <a:rPr lang="en-US" sz="10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daptiveRules</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supporting automated DQ tracking, and GenAI supported DQ rule creation using NLP.</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accent2">
                              <a:lumMod val="75000"/>
                            </a:schemeClr>
                          </a:solidFill>
                          <a:effectLst/>
                          <a:latin typeface="Open Sans" panose="020B0606030504020204" pitchFamily="34" charset="0"/>
                          <a:ea typeface="Open Sans" panose="020B0606030504020204" pitchFamily="34" charset="0"/>
                          <a:cs typeface="Open Sans" panose="020B0606030504020204" pitchFamily="34" charset="0"/>
                        </a:rPr>
                        <a:t>Alation</a:t>
                      </a: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Integrates Snowflake’s Data Quality Metric Functions (DMFs) with its data quality framework, creating high-quality data for AI model development.</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tx2"/>
                          </a:solidFill>
                          <a:effectLst/>
                          <a:latin typeface="Open Sans" panose="020B0606030504020204" pitchFamily="34" charset="0"/>
                          <a:ea typeface="Open Sans" panose="020B0606030504020204" pitchFamily="34" charset="0"/>
                          <a:cs typeface="Open Sans" panose="020B0606030504020204" pitchFamily="34" charset="0"/>
                        </a:rPr>
                        <a:t>Informatic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Has CLAIRE AI copilot, which supports automated data profiling, quality analysis, and can generate data quality rules.</a:t>
                      </a:r>
                    </a:p>
                  </a:txBody>
                  <a:tcPr marL="45720" marR="0" anchor="ctr">
                    <a:lnL w="9525"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2541292"/>
                  </a:ext>
                </a:extLst>
              </a:tr>
              <a:tr h="1006006">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ctr" rtl="0"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ata Lineag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1905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rgbClr val="0076A8"/>
                          </a:solidFill>
                          <a:effectLst/>
                          <a:latin typeface="Open Sans" panose="020B0606030504020204" pitchFamily="34" charset="0"/>
                          <a:ea typeface="Open Sans" panose="020B0606030504020204" pitchFamily="34" charset="0"/>
                          <a:cs typeface="Open Sans" panose="020B0606030504020204" pitchFamily="34" charset="0"/>
                        </a:rPr>
                        <a:t>Collibr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Has intelligent filtering through lineage diagrams and automated end-to-end data lineage tracking with Collibra Lineage.</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accent2">
                              <a:lumMod val="75000"/>
                            </a:schemeClr>
                          </a:solidFill>
                          <a:effectLst/>
                          <a:latin typeface="Open Sans" panose="020B0606030504020204" pitchFamily="34" charset="0"/>
                          <a:ea typeface="Open Sans" panose="020B0606030504020204" pitchFamily="34" charset="0"/>
                          <a:cs typeface="Open Sans" panose="020B0606030504020204" pitchFamily="34" charset="0"/>
                        </a:rPr>
                        <a:t>Alation</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L</a:t>
                      </a: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verages machine learning algorithms analyze user behavior, data usage patterns, and metadata to identify relevant data assets.</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tx2"/>
                          </a:solidFill>
                          <a:effectLst/>
                          <a:latin typeface="Open Sans" panose="020B0606030504020204" pitchFamily="34" charset="0"/>
                          <a:ea typeface="Open Sans" panose="020B0606030504020204" pitchFamily="34" charset="0"/>
                          <a:cs typeface="Open Sans" panose="020B0606030504020204" pitchFamily="34" charset="0"/>
                        </a:rPr>
                        <a:t>Informatic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Supports automated end-to-end data lineage tracking, including automated scanning for data transformation details.</a:t>
                      </a:r>
                    </a:p>
                  </a:txBody>
                  <a:tcPr marL="45720" marR="0" anchor="ctr">
                    <a:lnL w="9525"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0992779"/>
                  </a:ext>
                </a:extLst>
              </a:tr>
              <a:tr h="720518">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ctr" rtl="0"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ata Classification</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1905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rgbClr val="0076A8"/>
                          </a:solidFill>
                          <a:effectLst/>
                          <a:latin typeface="Open Sans" panose="020B0606030504020204" pitchFamily="34" charset="0"/>
                          <a:ea typeface="Open Sans" panose="020B0606030504020204" pitchFamily="34" charset="0"/>
                          <a:cs typeface="Open Sans" panose="020B0606030504020204" pitchFamily="34" charset="0"/>
                        </a:rPr>
                        <a:t>Collibr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Can automatically classify data with industry-specific context </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accent2">
                              <a:lumMod val="75000"/>
                            </a:schemeClr>
                          </a:solidFill>
                          <a:effectLst/>
                          <a:latin typeface="Open Sans" panose="020B0606030504020204" pitchFamily="34" charset="0"/>
                          <a:ea typeface="Open Sans" panose="020B0606030504020204" pitchFamily="34" charset="0"/>
                          <a:cs typeface="Open Sans" panose="020B0606030504020204" pitchFamily="34" charset="0"/>
                        </a:rPr>
                        <a:t>Alation</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Supports automated mapping and categorization of data, including tagging</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tx2"/>
                          </a:solidFill>
                          <a:effectLst/>
                          <a:latin typeface="Open Sans" panose="020B0606030504020204" pitchFamily="34" charset="0"/>
                          <a:ea typeface="Open Sans" panose="020B0606030504020204" pitchFamily="34" charset="0"/>
                          <a:cs typeface="Open Sans" panose="020B0606030504020204" pitchFamily="34" charset="0"/>
                        </a:rPr>
                        <a:t>Informatic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CLAIRE supports intelligent similarity detection and domain discovery with tags, streamlining classification</a:t>
                      </a:r>
                    </a:p>
                  </a:txBody>
                  <a:tcPr marL="45720" marR="45720" anchor="ctr">
                    <a:lnL w="9525"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9650470"/>
                  </a:ext>
                </a:extLst>
              </a:tr>
              <a:tr h="1006006">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ctr" rtl="0"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ata Security</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1905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kern="1200" dirty="0">
                          <a:solidFill>
                            <a:srgbClr val="0076A8"/>
                          </a:solidFill>
                          <a:effectLst/>
                          <a:latin typeface="Open Sans" panose="020B0606030504020204" pitchFamily="34" charset="0"/>
                          <a:ea typeface="Open Sans" panose="020B0606030504020204" pitchFamily="34" charset="0"/>
                          <a:cs typeface="Open Sans" panose="020B0606030504020204" pitchFamily="34" charset="0"/>
                        </a:rPr>
                        <a:t>Collibra</a:t>
                      </a: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utomatically discovers and classifies sensitive data across existing organizations’ AI systems, allowing owners to manage access controls</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accent2">
                              <a:lumMod val="75000"/>
                            </a:schemeClr>
                          </a:solidFill>
                          <a:effectLst/>
                          <a:latin typeface="Open Sans" panose="020B0606030504020204" pitchFamily="34" charset="0"/>
                          <a:ea typeface="Open Sans" panose="020B0606030504020204" pitchFamily="34" charset="0"/>
                          <a:cs typeface="Open Sans" panose="020B0606030504020204" pitchFamily="34" charset="0"/>
                        </a:rPr>
                        <a:t>Alation</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lation AI and data governance framework flags non-compliant datasets and ensures AI models are built on reliable, governed data</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tx2"/>
                          </a:solidFill>
                          <a:effectLst/>
                          <a:latin typeface="Open Sans" panose="020B0606030504020204" pitchFamily="34" charset="0"/>
                          <a:ea typeface="Open Sans" panose="020B0606030504020204" pitchFamily="34" charset="0"/>
                          <a:cs typeface="Open Sans" panose="020B0606030504020204" pitchFamily="34" charset="0"/>
                        </a:rPr>
                        <a:t>Informatic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CLAIRE has data privacy solutions that enable sensitive data tracking, detect anomalies, and simulate risk</a:t>
                      </a:r>
                    </a:p>
                  </a:txBody>
                  <a:tcPr marL="45720" marR="45720" anchor="ctr">
                    <a:lnL w="9525"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98907643"/>
                  </a:ext>
                </a:extLst>
              </a:tr>
              <a:tr h="720518">
                <a:tc>
                  <a:txBody>
                    <a:bodyPr/>
                    <a:lstStyle/>
                    <a:p>
                      <a:pPr marL="0" algn="ctr" rtl="0"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ster Data Managemen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1905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rtl="0" fontAlgn="b"/>
                      <a:endParaRPr lang="en-US" sz="12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kern="1200" dirty="0">
                          <a:solidFill>
                            <a:srgbClr val="0076A8"/>
                          </a:solidFill>
                          <a:effectLst/>
                          <a:latin typeface="Open Sans" panose="020B0606030504020204" pitchFamily="34" charset="0"/>
                          <a:ea typeface="Open Sans" panose="020B0606030504020204" pitchFamily="34" charset="0"/>
                          <a:cs typeface="Open Sans" panose="020B0606030504020204" pitchFamily="34" charset="0"/>
                        </a:rPr>
                        <a:t>Collibra</a:t>
                      </a: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N/A</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accent2">
                              <a:lumMod val="75000"/>
                            </a:schemeClr>
                          </a:solidFill>
                          <a:effectLst/>
                          <a:latin typeface="Open Sans" panose="020B0606030504020204" pitchFamily="34" charset="0"/>
                          <a:ea typeface="Open Sans" panose="020B0606030504020204" pitchFamily="34" charset="0"/>
                          <a:cs typeface="Open Sans" panose="020B0606030504020204" pitchFamily="34" charset="0"/>
                        </a:rPr>
                        <a:t>Alation</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A</a:t>
                      </a:r>
                    </a:p>
                    <a:p>
                      <a:pPr marL="173736" indent="-173736" algn="l" rtl="0" fontAlgn="b">
                        <a:lnSpc>
                          <a:spcPct val="100000"/>
                        </a:lnSpc>
                        <a:spcBef>
                          <a:spcPts val="100"/>
                        </a:spcBef>
                        <a:spcAft>
                          <a:spcPts val="150"/>
                        </a:spcAft>
                        <a:buFont typeface="Arial" panose="020B0604020202020204" pitchFamily="34" charset="0"/>
                        <a:buChar char="•"/>
                      </a:pPr>
                      <a:r>
                        <a:rPr lang="en-US" sz="1000" b="1" i="0" u="none" strike="noStrike" dirty="0">
                          <a:solidFill>
                            <a:schemeClr val="tx2"/>
                          </a:solidFill>
                          <a:effectLst/>
                          <a:latin typeface="Open Sans" panose="020B0606030504020204" pitchFamily="34" charset="0"/>
                          <a:ea typeface="Open Sans" panose="020B0606030504020204" pitchFamily="34" charset="0"/>
                          <a:cs typeface="Open Sans" panose="020B0606030504020204" pitchFamily="34" charset="0"/>
                        </a:rPr>
                        <a:t>Informatica</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utomatically identifies master data, traces source lineage, and finds mappings between attributes in data models</a:t>
                      </a:r>
                    </a:p>
                  </a:txBody>
                  <a:tcPr marL="45720" marR="45720" anchor="ctr">
                    <a:lnL w="9525"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2091872"/>
                  </a:ext>
                </a:extLst>
              </a:tr>
            </a:tbl>
          </a:graphicData>
        </a:graphic>
      </p:graphicFrame>
      <p:sp>
        <p:nvSpPr>
          <p:cNvPr id="2" name="TextBox 1">
            <a:extLst>
              <a:ext uri="{FF2B5EF4-FFF2-40B4-BE49-F238E27FC236}">
                <a16:creationId xmlns:a16="http://schemas.microsoft.com/office/drawing/2014/main" id="{92DDE124-37F2-B917-ED4B-48262AC1AA79}"/>
              </a:ext>
            </a:extLst>
          </p:cNvPr>
          <p:cNvSpPr txBox="1"/>
          <p:nvPr/>
        </p:nvSpPr>
        <p:spPr bwMode="gray">
          <a:xfrm>
            <a:off x="9813456" y="205505"/>
            <a:ext cx="2099930" cy="262393"/>
          </a:xfrm>
          <a:prstGeom prst="rect">
            <a:avLst/>
          </a:prstGeom>
        </p:spPr>
        <p:txBody>
          <a:bodyPr vert="horz" wrap="square" lIns="0" tIns="0" rIns="0" bIns="0" rtlCol="0" anchor="t" anchorCtr="0">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 High / Medium / Low Maturity</a:t>
            </a:r>
          </a:p>
        </p:txBody>
      </p:sp>
      <p:grpSp>
        <p:nvGrpSpPr>
          <p:cNvPr id="11" name="Group 10">
            <a:extLst>
              <a:ext uri="{FF2B5EF4-FFF2-40B4-BE49-F238E27FC236}">
                <a16:creationId xmlns:a16="http://schemas.microsoft.com/office/drawing/2014/main" id="{90098FC7-1153-2AC4-0B1D-6823BC3D8290}"/>
              </a:ext>
            </a:extLst>
          </p:cNvPr>
          <p:cNvGrpSpPr/>
          <p:nvPr/>
        </p:nvGrpSpPr>
        <p:grpSpPr>
          <a:xfrm>
            <a:off x="7926027" y="205165"/>
            <a:ext cx="521807" cy="148080"/>
            <a:chOff x="2103764" y="1939592"/>
            <a:chExt cx="521807" cy="148080"/>
          </a:xfrm>
          <a:solidFill>
            <a:srgbClr val="00B050"/>
          </a:solidFill>
        </p:grpSpPr>
        <p:sp>
          <p:nvSpPr>
            <p:cNvPr id="20" name="Oval 19">
              <a:extLst>
                <a:ext uri="{FF2B5EF4-FFF2-40B4-BE49-F238E27FC236}">
                  <a16:creationId xmlns:a16="http://schemas.microsoft.com/office/drawing/2014/main" id="{DD3B1A20-D052-6E24-A4C7-3BAF35C6F5C2}"/>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21" name="Oval 20">
              <a:extLst>
                <a:ext uri="{FF2B5EF4-FFF2-40B4-BE49-F238E27FC236}">
                  <a16:creationId xmlns:a16="http://schemas.microsoft.com/office/drawing/2014/main" id="{EE5A0C5C-70BD-20B6-1380-B210CBF03F82}"/>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22" name="Oval 21">
              <a:extLst>
                <a:ext uri="{FF2B5EF4-FFF2-40B4-BE49-F238E27FC236}">
                  <a16:creationId xmlns:a16="http://schemas.microsoft.com/office/drawing/2014/main" id="{CD66743D-3A35-6113-FA72-E69A6F99ED8A}"/>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223C2BB7-002A-78C5-E2C5-948693193F69}"/>
              </a:ext>
            </a:extLst>
          </p:cNvPr>
          <p:cNvGrpSpPr/>
          <p:nvPr/>
        </p:nvGrpSpPr>
        <p:grpSpPr>
          <a:xfrm>
            <a:off x="9291649" y="205165"/>
            <a:ext cx="521807" cy="148080"/>
            <a:chOff x="2103764" y="1939592"/>
            <a:chExt cx="521807" cy="148080"/>
          </a:xfrm>
          <a:solidFill>
            <a:srgbClr val="FFCD00"/>
          </a:solidFill>
        </p:grpSpPr>
        <p:sp>
          <p:nvSpPr>
            <p:cNvPr id="17" name="Oval 16">
              <a:extLst>
                <a:ext uri="{FF2B5EF4-FFF2-40B4-BE49-F238E27FC236}">
                  <a16:creationId xmlns:a16="http://schemas.microsoft.com/office/drawing/2014/main" id="{1BDA556F-F6B9-8AAD-6CBF-5B60E9817A53}"/>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39683284-3D1E-93DA-AF0F-51D019F0144C}"/>
                </a:ext>
              </a:extLst>
            </p:cNvPr>
            <p:cNvSpPr/>
            <p:nvPr/>
          </p:nvSpPr>
          <p:spPr bwMode="gray">
            <a:xfrm>
              <a:off x="2290627"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19" name="Oval 18">
              <a:extLst>
                <a:ext uri="{FF2B5EF4-FFF2-40B4-BE49-F238E27FC236}">
                  <a16:creationId xmlns:a16="http://schemas.microsoft.com/office/drawing/2014/main" id="{61C3AB93-8B05-C599-E997-5D70B1204B70}"/>
                </a:ext>
              </a:extLst>
            </p:cNvPr>
            <p:cNvSpPr/>
            <p:nvPr/>
          </p:nvSpPr>
          <p:spPr bwMode="gray">
            <a:xfrm>
              <a:off x="2477491"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3" name="Group 12">
            <a:extLst>
              <a:ext uri="{FF2B5EF4-FFF2-40B4-BE49-F238E27FC236}">
                <a16:creationId xmlns:a16="http://schemas.microsoft.com/office/drawing/2014/main" id="{9E010601-FB2D-B6FA-BE37-00C511CBC5FD}"/>
              </a:ext>
            </a:extLst>
          </p:cNvPr>
          <p:cNvGrpSpPr/>
          <p:nvPr/>
        </p:nvGrpSpPr>
        <p:grpSpPr>
          <a:xfrm>
            <a:off x="8608838" y="205165"/>
            <a:ext cx="521807" cy="148080"/>
            <a:chOff x="2103764" y="1939592"/>
            <a:chExt cx="521807" cy="148080"/>
          </a:xfrm>
          <a:solidFill>
            <a:srgbClr val="FFCD00"/>
          </a:solidFill>
        </p:grpSpPr>
        <p:sp>
          <p:nvSpPr>
            <p:cNvPr id="14" name="Oval 13">
              <a:extLst>
                <a:ext uri="{FF2B5EF4-FFF2-40B4-BE49-F238E27FC236}">
                  <a16:creationId xmlns:a16="http://schemas.microsoft.com/office/drawing/2014/main" id="{6D0CEA4D-0302-58A4-6870-33C6A7189BE5}"/>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15" name="Oval 14">
              <a:extLst>
                <a:ext uri="{FF2B5EF4-FFF2-40B4-BE49-F238E27FC236}">
                  <a16:creationId xmlns:a16="http://schemas.microsoft.com/office/drawing/2014/main" id="{F823F941-0AD5-82EA-CB0B-0339BB90E655}"/>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16" name="Oval 15">
              <a:extLst>
                <a:ext uri="{FF2B5EF4-FFF2-40B4-BE49-F238E27FC236}">
                  <a16:creationId xmlns:a16="http://schemas.microsoft.com/office/drawing/2014/main" id="{70FD2268-90ED-C395-F202-95CF1E87A2AF}"/>
                </a:ext>
              </a:extLst>
            </p:cNvPr>
            <p:cNvSpPr/>
            <p:nvPr/>
          </p:nvSpPr>
          <p:spPr bwMode="gray">
            <a:xfrm>
              <a:off x="2477491"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sp>
        <p:nvSpPr>
          <p:cNvPr id="9" name="TextBox 8">
            <a:extLst>
              <a:ext uri="{FF2B5EF4-FFF2-40B4-BE49-F238E27FC236}">
                <a16:creationId xmlns:a16="http://schemas.microsoft.com/office/drawing/2014/main" id="{C7BF2891-C617-8BC0-FF4E-4D993BA8D11B}"/>
              </a:ext>
            </a:extLst>
          </p:cNvPr>
          <p:cNvSpPr txBox="1"/>
          <p:nvPr/>
        </p:nvSpPr>
        <p:spPr bwMode="gray">
          <a:xfrm>
            <a:off x="8396256" y="95173"/>
            <a:ext cx="264160" cy="369332"/>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t>
            </a: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590FDBE8-6441-3CC0-61EC-00345F0057A8}"/>
              </a:ext>
            </a:extLst>
          </p:cNvPr>
          <p:cNvSpPr txBox="1"/>
          <p:nvPr/>
        </p:nvSpPr>
        <p:spPr bwMode="gray">
          <a:xfrm>
            <a:off x="9079067" y="97954"/>
            <a:ext cx="264160" cy="369332"/>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t>
            </a: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3" name="Group 22">
            <a:extLst>
              <a:ext uri="{FF2B5EF4-FFF2-40B4-BE49-F238E27FC236}">
                <a16:creationId xmlns:a16="http://schemas.microsoft.com/office/drawing/2014/main" id="{D55AC2A8-AC24-FF1E-AD0F-5C1C88691F61}"/>
              </a:ext>
            </a:extLst>
          </p:cNvPr>
          <p:cNvGrpSpPr/>
          <p:nvPr/>
        </p:nvGrpSpPr>
        <p:grpSpPr>
          <a:xfrm>
            <a:off x="4059825" y="2306378"/>
            <a:ext cx="521807" cy="148080"/>
            <a:chOff x="2103764" y="1939592"/>
            <a:chExt cx="521807" cy="148080"/>
          </a:xfrm>
          <a:solidFill>
            <a:srgbClr val="00B050"/>
          </a:solidFill>
        </p:grpSpPr>
        <p:sp>
          <p:nvSpPr>
            <p:cNvPr id="24" name="Oval 23">
              <a:extLst>
                <a:ext uri="{FF2B5EF4-FFF2-40B4-BE49-F238E27FC236}">
                  <a16:creationId xmlns:a16="http://schemas.microsoft.com/office/drawing/2014/main" id="{F5F98949-FFCA-A19A-9739-365BCF3FBA66}"/>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25" name="Oval 24">
              <a:extLst>
                <a:ext uri="{FF2B5EF4-FFF2-40B4-BE49-F238E27FC236}">
                  <a16:creationId xmlns:a16="http://schemas.microsoft.com/office/drawing/2014/main" id="{CE01A2E3-9640-36BC-42D3-450FBD7609A0}"/>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26" name="Oval 25">
              <a:extLst>
                <a:ext uri="{FF2B5EF4-FFF2-40B4-BE49-F238E27FC236}">
                  <a16:creationId xmlns:a16="http://schemas.microsoft.com/office/drawing/2014/main" id="{90394CB5-E0AC-446E-86AD-CD1D4814EF19}"/>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27" name="Group 26">
            <a:extLst>
              <a:ext uri="{FF2B5EF4-FFF2-40B4-BE49-F238E27FC236}">
                <a16:creationId xmlns:a16="http://schemas.microsoft.com/office/drawing/2014/main" id="{5A3B993E-2C25-4782-99EE-BBCDDB29B99A}"/>
              </a:ext>
            </a:extLst>
          </p:cNvPr>
          <p:cNvGrpSpPr/>
          <p:nvPr/>
        </p:nvGrpSpPr>
        <p:grpSpPr>
          <a:xfrm>
            <a:off x="4059825" y="3393921"/>
            <a:ext cx="521807" cy="148080"/>
            <a:chOff x="2103764" y="1939592"/>
            <a:chExt cx="521807" cy="148080"/>
          </a:xfrm>
          <a:solidFill>
            <a:srgbClr val="00B050"/>
          </a:solidFill>
        </p:grpSpPr>
        <p:sp>
          <p:nvSpPr>
            <p:cNvPr id="28" name="Oval 27">
              <a:extLst>
                <a:ext uri="{FF2B5EF4-FFF2-40B4-BE49-F238E27FC236}">
                  <a16:creationId xmlns:a16="http://schemas.microsoft.com/office/drawing/2014/main" id="{FF434F77-E806-397E-F52C-036EC322B9A9}"/>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29" name="Oval 28">
              <a:extLst>
                <a:ext uri="{FF2B5EF4-FFF2-40B4-BE49-F238E27FC236}">
                  <a16:creationId xmlns:a16="http://schemas.microsoft.com/office/drawing/2014/main" id="{CC840573-9875-DE3F-9F56-7E8143C793B2}"/>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30" name="Oval 29">
              <a:extLst>
                <a:ext uri="{FF2B5EF4-FFF2-40B4-BE49-F238E27FC236}">
                  <a16:creationId xmlns:a16="http://schemas.microsoft.com/office/drawing/2014/main" id="{9C186FE2-75F0-992D-476C-9210F3ADDF6C}"/>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31" name="Group 30">
            <a:extLst>
              <a:ext uri="{FF2B5EF4-FFF2-40B4-BE49-F238E27FC236}">
                <a16:creationId xmlns:a16="http://schemas.microsoft.com/office/drawing/2014/main" id="{983ABA82-26E6-A76D-A0AD-D3E6BFE68B6C}"/>
              </a:ext>
            </a:extLst>
          </p:cNvPr>
          <p:cNvGrpSpPr/>
          <p:nvPr/>
        </p:nvGrpSpPr>
        <p:grpSpPr>
          <a:xfrm>
            <a:off x="1884311" y="4306469"/>
            <a:ext cx="521807" cy="148080"/>
            <a:chOff x="2103764" y="1939592"/>
            <a:chExt cx="521807" cy="148080"/>
          </a:xfrm>
          <a:solidFill>
            <a:srgbClr val="00B050"/>
          </a:solidFill>
        </p:grpSpPr>
        <p:sp>
          <p:nvSpPr>
            <p:cNvPr id="32" name="Oval 31">
              <a:extLst>
                <a:ext uri="{FF2B5EF4-FFF2-40B4-BE49-F238E27FC236}">
                  <a16:creationId xmlns:a16="http://schemas.microsoft.com/office/drawing/2014/main" id="{55AC462B-0D4F-CEF2-8E57-521BDFD552F5}"/>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44D8C8C7-E567-5CA1-19DC-B66529C01EB6}"/>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34" name="Oval 33">
              <a:extLst>
                <a:ext uri="{FF2B5EF4-FFF2-40B4-BE49-F238E27FC236}">
                  <a16:creationId xmlns:a16="http://schemas.microsoft.com/office/drawing/2014/main" id="{C7C047CE-0177-BEE1-D857-04BDEB4E00B0}"/>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47" name="Group 46">
            <a:extLst>
              <a:ext uri="{FF2B5EF4-FFF2-40B4-BE49-F238E27FC236}">
                <a16:creationId xmlns:a16="http://schemas.microsoft.com/office/drawing/2014/main" id="{29FA6F37-F4B8-0CD7-3D15-944DF84817C7}"/>
              </a:ext>
            </a:extLst>
          </p:cNvPr>
          <p:cNvGrpSpPr/>
          <p:nvPr/>
        </p:nvGrpSpPr>
        <p:grpSpPr>
          <a:xfrm>
            <a:off x="1884311" y="2306378"/>
            <a:ext cx="521807" cy="148080"/>
            <a:chOff x="2103764" y="1939592"/>
            <a:chExt cx="521807" cy="148080"/>
          </a:xfrm>
          <a:solidFill>
            <a:srgbClr val="FFCD00"/>
          </a:solidFill>
        </p:grpSpPr>
        <p:sp>
          <p:nvSpPr>
            <p:cNvPr id="48" name="Oval 47">
              <a:extLst>
                <a:ext uri="{FF2B5EF4-FFF2-40B4-BE49-F238E27FC236}">
                  <a16:creationId xmlns:a16="http://schemas.microsoft.com/office/drawing/2014/main" id="{C02B3EA9-97D7-B2FE-610D-DCE86D4C5618}"/>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85E14AD-7B33-6BB6-16EE-221F5FA45E5A}"/>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EFB62CC0-DC80-858B-3C61-081F476DC6B2}"/>
                </a:ext>
              </a:extLst>
            </p:cNvPr>
            <p:cNvSpPr/>
            <p:nvPr/>
          </p:nvSpPr>
          <p:spPr bwMode="gray">
            <a:xfrm>
              <a:off x="2477491"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1" name="Group 50">
            <a:extLst>
              <a:ext uri="{FF2B5EF4-FFF2-40B4-BE49-F238E27FC236}">
                <a16:creationId xmlns:a16="http://schemas.microsoft.com/office/drawing/2014/main" id="{6AE7DA3C-2C5F-925A-7165-C9A945F0B7EE}"/>
              </a:ext>
            </a:extLst>
          </p:cNvPr>
          <p:cNvGrpSpPr/>
          <p:nvPr/>
        </p:nvGrpSpPr>
        <p:grpSpPr>
          <a:xfrm>
            <a:off x="2948557" y="2306378"/>
            <a:ext cx="521807" cy="148080"/>
            <a:chOff x="2103764" y="1939592"/>
            <a:chExt cx="521807" cy="148080"/>
          </a:xfrm>
          <a:solidFill>
            <a:srgbClr val="FFCD00"/>
          </a:solidFill>
        </p:grpSpPr>
        <p:sp>
          <p:nvSpPr>
            <p:cNvPr id="52" name="Oval 51">
              <a:extLst>
                <a:ext uri="{FF2B5EF4-FFF2-40B4-BE49-F238E27FC236}">
                  <a16:creationId xmlns:a16="http://schemas.microsoft.com/office/drawing/2014/main" id="{2988A6C0-7C59-E1FF-52AD-FB424629470F}"/>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9120CF4B-CB5F-2982-3F4A-6C8B466BD9B2}"/>
                </a:ext>
              </a:extLst>
            </p:cNvPr>
            <p:cNvSpPr/>
            <p:nvPr/>
          </p:nvSpPr>
          <p:spPr bwMode="gray">
            <a:xfrm>
              <a:off x="2290627"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DA2997D0-664F-EB7F-7B09-589AE2DCE4C1}"/>
                </a:ext>
              </a:extLst>
            </p:cNvPr>
            <p:cNvSpPr/>
            <p:nvPr/>
          </p:nvSpPr>
          <p:spPr bwMode="gray">
            <a:xfrm>
              <a:off x="2477491"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9" name="Group 58">
            <a:extLst>
              <a:ext uri="{FF2B5EF4-FFF2-40B4-BE49-F238E27FC236}">
                <a16:creationId xmlns:a16="http://schemas.microsoft.com/office/drawing/2014/main" id="{7FBF96AF-CE24-3F99-4743-D63B165BECB7}"/>
              </a:ext>
            </a:extLst>
          </p:cNvPr>
          <p:cNvGrpSpPr/>
          <p:nvPr/>
        </p:nvGrpSpPr>
        <p:grpSpPr>
          <a:xfrm>
            <a:off x="4059825" y="1269112"/>
            <a:ext cx="521807" cy="148080"/>
            <a:chOff x="2103764" y="1939592"/>
            <a:chExt cx="521807" cy="148080"/>
          </a:xfrm>
          <a:solidFill>
            <a:srgbClr val="00B050"/>
          </a:solidFill>
        </p:grpSpPr>
        <p:sp>
          <p:nvSpPr>
            <p:cNvPr id="60" name="Oval 59">
              <a:extLst>
                <a:ext uri="{FF2B5EF4-FFF2-40B4-BE49-F238E27FC236}">
                  <a16:creationId xmlns:a16="http://schemas.microsoft.com/office/drawing/2014/main" id="{9223137D-94AA-E8F5-2295-427CD1273439}"/>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61" name="Oval 60">
              <a:extLst>
                <a:ext uri="{FF2B5EF4-FFF2-40B4-BE49-F238E27FC236}">
                  <a16:creationId xmlns:a16="http://schemas.microsoft.com/office/drawing/2014/main" id="{95799D73-3999-BDD6-496F-F2B7899471C7}"/>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62" name="Oval 61">
              <a:extLst>
                <a:ext uri="{FF2B5EF4-FFF2-40B4-BE49-F238E27FC236}">
                  <a16:creationId xmlns:a16="http://schemas.microsoft.com/office/drawing/2014/main" id="{975F6AE2-196B-2032-FA51-58C05A029E12}"/>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67" name="Group 66">
            <a:extLst>
              <a:ext uri="{FF2B5EF4-FFF2-40B4-BE49-F238E27FC236}">
                <a16:creationId xmlns:a16="http://schemas.microsoft.com/office/drawing/2014/main" id="{111FF969-5129-4127-CCB0-239B3686CCF6}"/>
              </a:ext>
            </a:extLst>
          </p:cNvPr>
          <p:cNvGrpSpPr/>
          <p:nvPr/>
        </p:nvGrpSpPr>
        <p:grpSpPr>
          <a:xfrm>
            <a:off x="1884311" y="3393921"/>
            <a:ext cx="521807" cy="148080"/>
            <a:chOff x="2103764" y="1939592"/>
            <a:chExt cx="521807" cy="148080"/>
          </a:xfrm>
          <a:solidFill>
            <a:srgbClr val="00B050"/>
          </a:solidFill>
        </p:grpSpPr>
        <p:sp>
          <p:nvSpPr>
            <p:cNvPr id="68" name="Oval 67">
              <a:extLst>
                <a:ext uri="{FF2B5EF4-FFF2-40B4-BE49-F238E27FC236}">
                  <a16:creationId xmlns:a16="http://schemas.microsoft.com/office/drawing/2014/main" id="{9243B6E0-1BD0-FD66-1B73-072444C1ACC1}"/>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69" name="Oval 68">
              <a:extLst>
                <a:ext uri="{FF2B5EF4-FFF2-40B4-BE49-F238E27FC236}">
                  <a16:creationId xmlns:a16="http://schemas.microsoft.com/office/drawing/2014/main" id="{21BA3539-F989-5B2E-CE42-237F7D1CB146}"/>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70" name="Oval 69">
              <a:extLst>
                <a:ext uri="{FF2B5EF4-FFF2-40B4-BE49-F238E27FC236}">
                  <a16:creationId xmlns:a16="http://schemas.microsoft.com/office/drawing/2014/main" id="{56FEA48B-32C6-7D9C-FF91-BBB38D9EA2C9}"/>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71" name="Group 70">
            <a:extLst>
              <a:ext uri="{FF2B5EF4-FFF2-40B4-BE49-F238E27FC236}">
                <a16:creationId xmlns:a16="http://schemas.microsoft.com/office/drawing/2014/main" id="{2CF8C6B7-D56B-7353-6BBC-6EB1F96885BC}"/>
              </a:ext>
            </a:extLst>
          </p:cNvPr>
          <p:cNvGrpSpPr/>
          <p:nvPr/>
        </p:nvGrpSpPr>
        <p:grpSpPr>
          <a:xfrm>
            <a:off x="2948557" y="3393921"/>
            <a:ext cx="521807" cy="148080"/>
            <a:chOff x="2103764" y="1939592"/>
            <a:chExt cx="521807" cy="148080"/>
          </a:xfrm>
          <a:solidFill>
            <a:srgbClr val="00B050"/>
          </a:solidFill>
        </p:grpSpPr>
        <p:sp>
          <p:nvSpPr>
            <p:cNvPr id="72" name="Oval 71">
              <a:extLst>
                <a:ext uri="{FF2B5EF4-FFF2-40B4-BE49-F238E27FC236}">
                  <a16:creationId xmlns:a16="http://schemas.microsoft.com/office/drawing/2014/main" id="{589FE7EF-378D-2BCE-C814-350CB5424AD1}"/>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73" name="Oval 72">
              <a:extLst>
                <a:ext uri="{FF2B5EF4-FFF2-40B4-BE49-F238E27FC236}">
                  <a16:creationId xmlns:a16="http://schemas.microsoft.com/office/drawing/2014/main" id="{B79335E3-5B2A-EAC0-1098-7EAA24BA9866}"/>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74" name="Oval 73">
              <a:extLst>
                <a:ext uri="{FF2B5EF4-FFF2-40B4-BE49-F238E27FC236}">
                  <a16:creationId xmlns:a16="http://schemas.microsoft.com/office/drawing/2014/main" id="{2FF586EA-0CC2-9B40-F099-7B0ECD97D201}"/>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75" name="Group 74">
            <a:extLst>
              <a:ext uri="{FF2B5EF4-FFF2-40B4-BE49-F238E27FC236}">
                <a16:creationId xmlns:a16="http://schemas.microsoft.com/office/drawing/2014/main" id="{F4C80632-A90A-D75D-7129-58BE9A96E52C}"/>
              </a:ext>
            </a:extLst>
          </p:cNvPr>
          <p:cNvGrpSpPr/>
          <p:nvPr/>
        </p:nvGrpSpPr>
        <p:grpSpPr>
          <a:xfrm>
            <a:off x="1884311" y="1269112"/>
            <a:ext cx="521807" cy="148080"/>
            <a:chOff x="2103764" y="1939592"/>
            <a:chExt cx="521807" cy="148080"/>
          </a:xfrm>
          <a:solidFill>
            <a:srgbClr val="FFCD00"/>
          </a:solidFill>
        </p:grpSpPr>
        <p:sp>
          <p:nvSpPr>
            <p:cNvPr id="76" name="Oval 75">
              <a:extLst>
                <a:ext uri="{FF2B5EF4-FFF2-40B4-BE49-F238E27FC236}">
                  <a16:creationId xmlns:a16="http://schemas.microsoft.com/office/drawing/2014/main" id="{2FD405F0-C107-1FED-D1E7-043868978CAC}"/>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77" name="Oval 76">
              <a:extLst>
                <a:ext uri="{FF2B5EF4-FFF2-40B4-BE49-F238E27FC236}">
                  <a16:creationId xmlns:a16="http://schemas.microsoft.com/office/drawing/2014/main" id="{436BA9DE-D441-27DF-078D-D3BCBE28B3EC}"/>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3DCD37D8-FEE5-64D0-2139-9858F5629918}"/>
                </a:ext>
              </a:extLst>
            </p:cNvPr>
            <p:cNvSpPr/>
            <p:nvPr/>
          </p:nvSpPr>
          <p:spPr bwMode="gray">
            <a:xfrm>
              <a:off x="2477491"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79" name="Group 78">
            <a:extLst>
              <a:ext uri="{FF2B5EF4-FFF2-40B4-BE49-F238E27FC236}">
                <a16:creationId xmlns:a16="http://schemas.microsoft.com/office/drawing/2014/main" id="{35C1E5EE-823C-24EF-2B4D-F791A58C5AC4}"/>
              </a:ext>
            </a:extLst>
          </p:cNvPr>
          <p:cNvGrpSpPr/>
          <p:nvPr/>
        </p:nvGrpSpPr>
        <p:grpSpPr>
          <a:xfrm>
            <a:off x="4059825" y="5219017"/>
            <a:ext cx="521807" cy="148080"/>
            <a:chOff x="2103764" y="1939592"/>
            <a:chExt cx="521807" cy="148080"/>
          </a:xfrm>
          <a:solidFill>
            <a:srgbClr val="00B050"/>
          </a:solidFill>
        </p:grpSpPr>
        <p:sp>
          <p:nvSpPr>
            <p:cNvPr id="80" name="Oval 79">
              <a:extLst>
                <a:ext uri="{FF2B5EF4-FFF2-40B4-BE49-F238E27FC236}">
                  <a16:creationId xmlns:a16="http://schemas.microsoft.com/office/drawing/2014/main" id="{42010FA0-9E78-A56E-49E3-B681161AD02F}"/>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AFB496D5-E408-9AD0-AEB4-E4CDFDEBD8D4}"/>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D4A260B6-6CEA-9883-43D1-279FEAAA3560}"/>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83" name="Group 82">
            <a:extLst>
              <a:ext uri="{FF2B5EF4-FFF2-40B4-BE49-F238E27FC236}">
                <a16:creationId xmlns:a16="http://schemas.microsoft.com/office/drawing/2014/main" id="{7769677F-2B3E-741C-ED21-A5D2BBE95D56}"/>
              </a:ext>
            </a:extLst>
          </p:cNvPr>
          <p:cNvGrpSpPr/>
          <p:nvPr/>
        </p:nvGrpSpPr>
        <p:grpSpPr>
          <a:xfrm>
            <a:off x="1884311" y="5219017"/>
            <a:ext cx="521807" cy="148080"/>
            <a:chOff x="2103764" y="1939592"/>
            <a:chExt cx="521807" cy="148080"/>
          </a:xfrm>
          <a:solidFill>
            <a:srgbClr val="FFCD00"/>
          </a:solidFill>
        </p:grpSpPr>
        <p:sp>
          <p:nvSpPr>
            <p:cNvPr id="84" name="Oval 83">
              <a:extLst>
                <a:ext uri="{FF2B5EF4-FFF2-40B4-BE49-F238E27FC236}">
                  <a16:creationId xmlns:a16="http://schemas.microsoft.com/office/drawing/2014/main" id="{269274B2-5B3D-C357-5783-B3DB1B812249}"/>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85" name="Oval 84">
              <a:extLst>
                <a:ext uri="{FF2B5EF4-FFF2-40B4-BE49-F238E27FC236}">
                  <a16:creationId xmlns:a16="http://schemas.microsoft.com/office/drawing/2014/main" id="{55C75C78-825A-343B-4AA4-01CD71E511D1}"/>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86" name="Oval 85">
              <a:extLst>
                <a:ext uri="{FF2B5EF4-FFF2-40B4-BE49-F238E27FC236}">
                  <a16:creationId xmlns:a16="http://schemas.microsoft.com/office/drawing/2014/main" id="{ACCB3D69-CC36-B811-8C71-ADD334BB2A38}"/>
                </a:ext>
              </a:extLst>
            </p:cNvPr>
            <p:cNvSpPr/>
            <p:nvPr/>
          </p:nvSpPr>
          <p:spPr bwMode="gray">
            <a:xfrm>
              <a:off x="2477491"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87" name="Group 86">
            <a:extLst>
              <a:ext uri="{FF2B5EF4-FFF2-40B4-BE49-F238E27FC236}">
                <a16:creationId xmlns:a16="http://schemas.microsoft.com/office/drawing/2014/main" id="{F7D1BA94-8F12-8D63-DCA9-808A314F9A0E}"/>
              </a:ext>
            </a:extLst>
          </p:cNvPr>
          <p:cNvGrpSpPr/>
          <p:nvPr/>
        </p:nvGrpSpPr>
        <p:grpSpPr>
          <a:xfrm>
            <a:off x="2948557" y="5219017"/>
            <a:ext cx="521807" cy="148080"/>
            <a:chOff x="2103764" y="1939592"/>
            <a:chExt cx="521807" cy="148080"/>
          </a:xfrm>
          <a:solidFill>
            <a:srgbClr val="FFCD00"/>
          </a:solidFill>
        </p:grpSpPr>
        <p:sp>
          <p:nvSpPr>
            <p:cNvPr id="88" name="Oval 87">
              <a:extLst>
                <a:ext uri="{FF2B5EF4-FFF2-40B4-BE49-F238E27FC236}">
                  <a16:creationId xmlns:a16="http://schemas.microsoft.com/office/drawing/2014/main" id="{31B39ABD-8EB6-D995-DBB0-370AF1C3C439}"/>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89" name="Oval 88">
              <a:extLst>
                <a:ext uri="{FF2B5EF4-FFF2-40B4-BE49-F238E27FC236}">
                  <a16:creationId xmlns:a16="http://schemas.microsoft.com/office/drawing/2014/main" id="{4346A26C-7B11-946C-22AD-964C5E81D921}"/>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90" name="Oval 89">
              <a:extLst>
                <a:ext uri="{FF2B5EF4-FFF2-40B4-BE49-F238E27FC236}">
                  <a16:creationId xmlns:a16="http://schemas.microsoft.com/office/drawing/2014/main" id="{5364E3A3-9AD0-0A10-0E44-D6F42E443614}"/>
                </a:ext>
              </a:extLst>
            </p:cNvPr>
            <p:cNvSpPr/>
            <p:nvPr/>
          </p:nvSpPr>
          <p:spPr bwMode="gray">
            <a:xfrm>
              <a:off x="2477491"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91" name="Group 90">
            <a:extLst>
              <a:ext uri="{FF2B5EF4-FFF2-40B4-BE49-F238E27FC236}">
                <a16:creationId xmlns:a16="http://schemas.microsoft.com/office/drawing/2014/main" id="{B776115F-7D8D-A6D0-485F-CCBA4BD19763}"/>
              </a:ext>
            </a:extLst>
          </p:cNvPr>
          <p:cNvGrpSpPr/>
          <p:nvPr/>
        </p:nvGrpSpPr>
        <p:grpSpPr>
          <a:xfrm>
            <a:off x="2948557" y="1269112"/>
            <a:ext cx="521807" cy="148080"/>
            <a:chOff x="2103764" y="1939592"/>
            <a:chExt cx="521807" cy="148080"/>
          </a:xfrm>
          <a:solidFill>
            <a:srgbClr val="FFCD00"/>
          </a:solidFill>
        </p:grpSpPr>
        <p:sp>
          <p:nvSpPr>
            <p:cNvPr id="92" name="Oval 91">
              <a:extLst>
                <a:ext uri="{FF2B5EF4-FFF2-40B4-BE49-F238E27FC236}">
                  <a16:creationId xmlns:a16="http://schemas.microsoft.com/office/drawing/2014/main" id="{E32B0C46-5477-1F5E-6A33-0FA3B90D299D}"/>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93" name="Oval 92">
              <a:extLst>
                <a:ext uri="{FF2B5EF4-FFF2-40B4-BE49-F238E27FC236}">
                  <a16:creationId xmlns:a16="http://schemas.microsoft.com/office/drawing/2014/main" id="{A0061F21-E73F-DDD7-9F40-0BF712B10EA7}"/>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94" name="Oval 93">
              <a:extLst>
                <a:ext uri="{FF2B5EF4-FFF2-40B4-BE49-F238E27FC236}">
                  <a16:creationId xmlns:a16="http://schemas.microsoft.com/office/drawing/2014/main" id="{F40D6429-C0E6-195A-F503-16E827EDC9E6}"/>
                </a:ext>
              </a:extLst>
            </p:cNvPr>
            <p:cNvSpPr/>
            <p:nvPr/>
          </p:nvSpPr>
          <p:spPr bwMode="gray">
            <a:xfrm>
              <a:off x="2477491" y="1939592"/>
              <a:ext cx="148080" cy="14808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95" name="Group 94">
            <a:extLst>
              <a:ext uri="{FF2B5EF4-FFF2-40B4-BE49-F238E27FC236}">
                <a16:creationId xmlns:a16="http://schemas.microsoft.com/office/drawing/2014/main" id="{901D7E19-D25E-EED6-5557-59FCA16A751F}"/>
              </a:ext>
            </a:extLst>
          </p:cNvPr>
          <p:cNvGrpSpPr/>
          <p:nvPr/>
        </p:nvGrpSpPr>
        <p:grpSpPr>
          <a:xfrm>
            <a:off x="4059825" y="4306469"/>
            <a:ext cx="521807" cy="148080"/>
            <a:chOff x="2103764" y="1939592"/>
            <a:chExt cx="521807" cy="148080"/>
          </a:xfrm>
          <a:solidFill>
            <a:srgbClr val="00B050"/>
          </a:solidFill>
        </p:grpSpPr>
        <p:sp>
          <p:nvSpPr>
            <p:cNvPr id="96" name="Oval 95">
              <a:extLst>
                <a:ext uri="{FF2B5EF4-FFF2-40B4-BE49-F238E27FC236}">
                  <a16:creationId xmlns:a16="http://schemas.microsoft.com/office/drawing/2014/main" id="{D7A0F2D8-2C8C-65B1-0181-A471AF51553F}"/>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97" name="Oval 96">
              <a:extLst>
                <a:ext uri="{FF2B5EF4-FFF2-40B4-BE49-F238E27FC236}">
                  <a16:creationId xmlns:a16="http://schemas.microsoft.com/office/drawing/2014/main" id="{D2C5C75D-6105-CD1A-0326-249732911529}"/>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98" name="Oval 97">
              <a:extLst>
                <a:ext uri="{FF2B5EF4-FFF2-40B4-BE49-F238E27FC236}">
                  <a16:creationId xmlns:a16="http://schemas.microsoft.com/office/drawing/2014/main" id="{DBFB5093-EEFA-9F7F-22BC-FFCBD1CC1271}"/>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00" name="Group 99">
            <a:extLst>
              <a:ext uri="{FF2B5EF4-FFF2-40B4-BE49-F238E27FC236}">
                <a16:creationId xmlns:a16="http://schemas.microsoft.com/office/drawing/2014/main" id="{78BFE39C-832E-3AE9-93AD-0B68920C5852}"/>
              </a:ext>
            </a:extLst>
          </p:cNvPr>
          <p:cNvGrpSpPr/>
          <p:nvPr/>
        </p:nvGrpSpPr>
        <p:grpSpPr>
          <a:xfrm>
            <a:off x="2948557" y="4306469"/>
            <a:ext cx="521807" cy="148080"/>
            <a:chOff x="2103764" y="1939592"/>
            <a:chExt cx="521807" cy="148080"/>
          </a:xfrm>
          <a:solidFill>
            <a:srgbClr val="00B050"/>
          </a:solidFill>
        </p:grpSpPr>
        <p:sp>
          <p:nvSpPr>
            <p:cNvPr id="101" name="Oval 100">
              <a:extLst>
                <a:ext uri="{FF2B5EF4-FFF2-40B4-BE49-F238E27FC236}">
                  <a16:creationId xmlns:a16="http://schemas.microsoft.com/office/drawing/2014/main" id="{D5458F51-3CBB-1C31-5754-47463667FB7D}"/>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102" name="Oval 101">
              <a:extLst>
                <a:ext uri="{FF2B5EF4-FFF2-40B4-BE49-F238E27FC236}">
                  <a16:creationId xmlns:a16="http://schemas.microsoft.com/office/drawing/2014/main" id="{5A37CB32-F58C-A951-2594-E920C27A0E6A}"/>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103" name="Oval 102">
              <a:extLst>
                <a:ext uri="{FF2B5EF4-FFF2-40B4-BE49-F238E27FC236}">
                  <a16:creationId xmlns:a16="http://schemas.microsoft.com/office/drawing/2014/main" id="{8C2FD9C2-6D82-E5E7-C2F7-B78093DAEE13}"/>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35" name="Group 34">
            <a:extLst>
              <a:ext uri="{FF2B5EF4-FFF2-40B4-BE49-F238E27FC236}">
                <a16:creationId xmlns:a16="http://schemas.microsoft.com/office/drawing/2014/main" id="{96EAE2A0-3209-26F6-FA08-CE142ED4B1FB}"/>
              </a:ext>
            </a:extLst>
          </p:cNvPr>
          <p:cNvGrpSpPr/>
          <p:nvPr/>
        </p:nvGrpSpPr>
        <p:grpSpPr>
          <a:xfrm>
            <a:off x="4059824" y="6184525"/>
            <a:ext cx="521807" cy="148080"/>
            <a:chOff x="2103764" y="1939592"/>
            <a:chExt cx="521807" cy="148080"/>
          </a:xfrm>
          <a:solidFill>
            <a:srgbClr val="00B050"/>
          </a:solidFill>
        </p:grpSpPr>
        <p:sp>
          <p:nvSpPr>
            <p:cNvPr id="36" name="Oval 35">
              <a:extLst>
                <a:ext uri="{FF2B5EF4-FFF2-40B4-BE49-F238E27FC236}">
                  <a16:creationId xmlns:a16="http://schemas.microsoft.com/office/drawing/2014/main" id="{FEFC92B7-D110-90E1-7E7C-FDB096DF4D21}"/>
                </a:ext>
              </a:extLst>
            </p:cNvPr>
            <p:cNvSpPr/>
            <p:nvPr/>
          </p:nvSpPr>
          <p:spPr bwMode="gray">
            <a:xfrm>
              <a:off x="2103764"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37" name="Oval 36">
              <a:extLst>
                <a:ext uri="{FF2B5EF4-FFF2-40B4-BE49-F238E27FC236}">
                  <a16:creationId xmlns:a16="http://schemas.microsoft.com/office/drawing/2014/main" id="{21F71EBA-9BB9-F91E-C91F-8C6CC2A9F10E}"/>
                </a:ext>
              </a:extLst>
            </p:cNvPr>
            <p:cNvSpPr/>
            <p:nvPr/>
          </p:nvSpPr>
          <p:spPr bwMode="gray">
            <a:xfrm>
              <a:off x="2290627"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87002AE6-AE92-3577-B72B-B361F68FDD92}"/>
                </a:ext>
              </a:extLst>
            </p:cNvPr>
            <p:cNvSpPr/>
            <p:nvPr/>
          </p:nvSpPr>
          <p:spPr bwMode="gray">
            <a:xfrm>
              <a:off x="2477491" y="1939592"/>
              <a:ext cx="148080" cy="14808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411011489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7" descr="Key points outlining the slide's main topic:&#10;        - Must consist of 1 clear statement between 3-4 words, displayed in **bold**, capital letters">
            <a:extLst>
              <a:ext uri="{FF2B5EF4-FFF2-40B4-BE49-F238E27FC236}">
                <a16:creationId xmlns:a16="http://schemas.microsoft.com/office/drawing/2014/main" id="{91D4E27F-4B6E-A4F8-1830-EC9CF15C9FCD}"/>
              </a:ext>
            </a:extLst>
          </p:cNvPr>
          <p:cNvSpPr txBox="1">
            <a:spLocks/>
          </p:cNvSpPr>
          <p:nvPr/>
        </p:nvSpPr>
        <p:spPr>
          <a:xfrm>
            <a:off x="400692" y="2148462"/>
            <a:ext cx="8404096" cy="682755"/>
          </a:xfrm>
          <a:prstGeom prst="rect">
            <a:avLst/>
          </a:prstGeom>
          <a:noFill/>
          <a:ln/>
        </p:spPr>
        <p:txBody>
          <a:bodyPr wrap="square" lIns="0" tIns="0" rIns="0" bIns="0" rtlCol="0" anchor="t">
            <a:normAutofit/>
          </a:bodyPr>
          <a:lstStyle>
            <a:lvl1pPr marL="0" indent="0" algn="l" defTabSz="914400" rtl="0" eaLnBrk="1" latinLnBrk="0" hangingPunct="1">
              <a:lnSpc>
                <a:spcPct val="120000"/>
              </a:lnSpc>
              <a:spcBef>
                <a:spcPts val="0"/>
              </a:spcBef>
              <a:spcAft>
                <a:spcPts val="800"/>
              </a:spcAft>
              <a:buSzPct val="100000"/>
              <a:buFont typeface="Arial" panose="020B0604020202020204" pitchFamily="34" charset="0"/>
              <a:buNone/>
              <a:defRPr lang="en-US" sz="1400" b="0" kern="0" spc="70" dirty="0">
                <a:solidFill>
                  <a:srgbClr val="000000">
                    <a:alpha val="100000"/>
                  </a:srgbClr>
                </a:solidFill>
                <a:latin typeface="Open Sans ExtraBold Italic" pitchFamily="34" charset="0"/>
                <a:ea typeface="Open Sans ExtraBold Italic" pitchFamily="34" charset="-122"/>
                <a:cs typeface="Open Sans ExtraBold Italic" pitchFamily="34" charset="-12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ts val="1344"/>
              </a:lnSpc>
            </a:pPr>
            <a:r>
              <a:rPr lang="nl-NL" sz="1600" b="1" dirty="0">
                <a:latin typeface="Open Sans Bold"/>
              </a:rPr>
              <a:t>KEY MESSAGES SUMMARIZED</a:t>
            </a:r>
            <a:endParaRPr sz="1600" b="1" dirty="0">
              <a:latin typeface="Open Sans Bold"/>
            </a:endParaRPr>
          </a:p>
        </p:txBody>
      </p:sp>
      <p:sp>
        <p:nvSpPr>
          <p:cNvPr id="5" name="Title 55" descr="A clear, concise title that captures the main topic of the slide. Keep it under 2 lines.">
            <a:extLst>
              <a:ext uri="{FF2B5EF4-FFF2-40B4-BE49-F238E27FC236}">
                <a16:creationId xmlns:a16="http://schemas.microsoft.com/office/drawing/2014/main" id="{1A972900-8A09-6F1D-D482-E83C52664FCB}"/>
              </a:ext>
            </a:extLst>
          </p:cNvPr>
          <p:cNvSpPr txBox="1">
            <a:spLocks/>
          </p:cNvSpPr>
          <p:nvPr/>
        </p:nvSpPr>
        <p:spPr>
          <a:xfrm>
            <a:off x="268686" y="492901"/>
            <a:ext cx="7656315" cy="1179721"/>
          </a:xfrm>
          <a:prstGeom prst="rect">
            <a:avLst/>
          </a:prstGeom>
        </p:spPr>
        <p:txBody>
          <a:bodyPr>
            <a:normAutofit/>
          </a:bodyPr>
          <a:lstStyle>
            <a:lvl1pPr algn="l" defTabSz="914400" rtl="0" eaLnBrk="1" latinLnBrk="0" hangingPunct="1">
              <a:lnSpc>
                <a:spcPct val="100000"/>
              </a:lnSpc>
              <a:spcBef>
                <a:spcPct val="0"/>
              </a:spcBef>
              <a:spcAft>
                <a:spcPts val="400"/>
              </a:spcAft>
              <a:buNone/>
              <a:defRPr sz="3200" kern="1200">
                <a:solidFill>
                  <a:schemeClr val="tx1"/>
                </a:solidFill>
                <a:latin typeface="+mj-lt"/>
                <a:ea typeface="+mj-ea"/>
                <a:cs typeface="Calibri Light" panose="020F0302020204030204" pitchFamily="34" charset="0"/>
              </a:defRPr>
            </a:lvl1pPr>
          </a:lstStyle>
          <a:p>
            <a:r>
              <a:rPr lang="nl-NL" dirty="0">
                <a:latin typeface="Open Sans Bold"/>
              </a:rPr>
              <a:t>The </a:t>
            </a:r>
            <a:r>
              <a:rPr lang="nl-NL" dirty="0" err="1">
                <a:latin typeface="Open Sans Bold"/>
              </a:rPr>
              <a:t>three</a:t>
            </a:r>
            <a:r>
              <a:rPr lang="nl-NL" dirty="0">
                <a:latin typeface="Open Sans Bold"/>
              </a:rPr>
              <a:t> </a:t>
            </a:r>
            <a:r>
              <a:rPr lang="nl-NL" dirty="0" err="1">
                <a:latin typeface="Open Sans Bold"/>
              </a:rPr>
              <a:t>main</a:t>
            </a:r>
            <a:r>
              <a:rPr lang="nl-NL" dirty="0">
                <a:latin typeface="Open Sans Bold"/>
              </a:rPr>
              <a:t> </a:t>
            </a:r>
            <a:r>
              <a:rPr lang="nl-NL" dirty="0" err="1">
                <a:latin typeface="Open Sans Bold"/>
              </a:rPr>
              <a:t>conclusions</a:t>
            </a:r>
            <a:endParaRPr lang="en-US" dirty="0"/>
          </a:p>
        </p:txBody>
      </p:sp>
      <p:sp>
        <p:nvSpPr>
          <p:cNvPr id="7" name="Rectangle 6" descr="Text content for first section:&#10;        - Must be a paragraph between 15-20 words&#10;        - Must highlight key concepts in **bold** (2-3 terms maximum)&#10;        - Must be complete, clear, and impactful&#10;        - Can use list or bullet points to be more concise&#10;                -The content must differ from the text in other boxes&#10;        - Should connect logically to other text boxes ">
            <a:extLst>
              <a:ext uri="{FF2B5EF4-FFF2-40B4-BE49-F238E27FC236}">
                <a16:creationId xmlns:a16="http://schemas.microsoft.com/office/drawing/2014/main" id="{54058AEF-A0E9-3A1B-7125-9329F8853ECE}"/>
              </a:ext>
            </a:extLst>
          </p:cNvPr>
          <p:cNvSpPr/>
          <p:nvPr/>
        </p:nvSpPr>
        <p:spPr bwMode="gray">
          <a:xfrm>
            <a:off x="400692" y="3159197"/>
            <a:ext cx="2843814" cy="2663328"/>
          </a:xfrm>
          <a:prstGeom prst="rect">
            <a:avLst/>
          </a:prstGeom>
          <a:noFill/>
          <a:ln w="19050" algn="ctr">
            <a:noFill/>
            <a:miter lim="800000"/>
            <a:headEnd/>
            <a:tailEnd/>
          </a:ln>
        </p:spPr>
        <p:txBody>
          <a:bodyPr wrap="square" lIns="0" tIns="0" rIns="0" bIns="0" rtlCol="0" anchor="t">
            <a:normAutofit/>
          </a:bodyPr>
          <a:lstStyle/>
          <a:p>
            <a:r>
              <a:rPr lang="en-US" sz="1400" dirty="0">
                <a:latin typeface="Open Sans Light"/>
              </a:rPr>
              <a:t>The focus is shifting from manual data preparation to leveraging AI for autonomous data management</a:t>
            </a:r>
            <a:endParaRPr sz="1400" dirty="0">
              <a:latin typeface="Open Sans Light"/>
            </a:endParaRPr>
          </a:p>
        </p:txBody>
      </p:sp>
      <p:sp>
        <p:nvSpPr>
          <p:cNvPr id="8" name="Rectangle 7" descr="Text content for second section:&#10;        - Must be a paragraph between 15-20 words&#10;        - Must highlight key concepts in **bold** (2-3 terms maximum)&#10;        - Must be complete, clear, and impactful&#10;        - Can use list or bullet points to be more concise&#10;                -The content must differ from the text in other boxes&#10;        - Should connect logically to other text boxes ">
            <a:extLst>
              <a:ext uri="{FF2B5EF4-FFF2-40B4-BE49-F238E27FC236}">
                <a16:creationId xmlns:a16="http://schemas.microsoft.com/office/drawing/2014/main" id="{AFC91CEE-7DB5-AD19-884B-2379CF5706C4}"/>
              </a:ext>
            </a:extLst>
          </p:cNvPr>
          <p:cNvSpPr/>
          <p:nvPr/>
        </p:nvSpPr>
        <p:spPr bwMode="gray">
          <a:xfrm>
            <a:off x="3419742" y="3159197"/>
            <a:ext cx="2843814" cy="2663328"/>
          </a:xfrm>
          <a:prstGeom prst="rect">
            <a:avLst/>
          </a:prstGeom>
          <a:noFill/>
          <a:ln w="19050" algn="ctr">
            <a:noFill/>
            <a:miter lim="800000"/>
            <a:headEnd/>
            <a:tailEnd/>
          </a:ln>
        </p:spPr>
        <p:txBody>
          <a:bodyPr wrap="square" lIns="0" tIns="0" rIns="0" bIns="0" rtlCol="0" anchor="t">
            <a:normAutofit/>
          </a:bodyPr>
          <a:lstStyle/>
          <a:p>
            <a:r>
              <a:rPr lang="en-US" sz="1400" dirty="0">
                <a:latin typeface="Open Sans Light"/>
              </a:rPr>
              <a:t>Agentic AI significantly increases efficiency by deploying autonomous agents to enrich, validate, and integrate data.</a:t>
            </a:r>
            <a:endParaRPr sz="1400" dirty="0">
              <a:latin typeface="Open Sans Light"/>
            </a:endParaRPr>
          </a:p>
        </p:txBody>
      </p:sp>
      <p:sp>
        <p:nvSpPr>
          <p:cNvPr id="9" name="Rectangle 8" descr="Text content for third section:&#10;        - Must be a paragraph between 15-20 words&#10;        - Must highlight key concepts in **bold** (2-3 terms maximum)&#10;        - Must be complete, clear, and impactful&#10;        - Can use list or bullet points to be more concise&#10;                -The content must differ from the text in other boxes&#10;        - Should connect logically to other text boxes ">
            <a:extLst>
              <a:ext uri="{FF2B5EF4-FFF2-40B4-BE49-F238E27FC236}">
                <a16:creationId xmlns:a16="http://schemas.microsoft.com/office/drawing/2014/main" id="{D57E2342-8A4A-1EE0-2E21-0814AC9C3D13}"/>
              </a:ext>
            </a:extLst>
          </p:cNvPr>
          <p:cNvSpPr/>
          <p:nvPr/>
        </p:nvSpPr>
        <p:spPr bwMode="gray">
          <a:xfrm>
            <a:off x="6438793" y="3159197"/>
            <a:ext cx="2843814" cy="2663328"/>
          </a:xfrm>
          <a:prstGeom prst="rect">
            <a:avLst/>
          </a:prstGeom>
          <a:noFill/>
          <a:ln w="19050" algn="ctr">
            <a:noFill/>
            <a:miter lim="800000"/>
            <a:headEnd/>
            <a:tailEnd/>
          </a:ln>
        </p:spPr>
        <p:txBody>
          <a:bodyPr wrap="square" lIns="0" tIns="0" rIns="0" bIns="0" rtlCol="0" anchor="t">
            <a:normAutofit/>
          </a:bodyPr>
          <a:lstStyle/>
          <a:p>
            <a:r>
              <a:rPr lang="en-US" sz="1400" dirty="0">
                <a:latin typeface="Open Sans Light"/>
              </a:rPr>
              <a:t>Strong governance and Human-in-the-Loop controls are essential to manage risk and ensure the reliability of the AI.</a:t>
            </a:r>
            <a:endParaRPr sz="1400" dirty="0">
              <a:latin typeface="Open Sans Light"/>
            </a:endParaRPr>
          </a:p>
        </p:txBody>
      </p:sp>
      <p:sp>
        <p:nvSpPr>
          <p:cNvPr id="10" name="Rectangle 9">
            <a:extLst>
              <a:ext uri="{FF2B5EF4-FFF2-40B4-BE49-F238E27FC236}">
                <a16:creationId xmlns:a16="http://schemas.microsoft.com/office/drawing/2014/main" id="{EB14661B-11CD-919D-2DE7-A6AB7B9E9451}"/>
              </a:ext>
            </a:extLst>
          </p:cNvPr>
          <p:cNvSpPr/>
          <p:nvPr/>
        </p:nvSpPr>
        <p:spPr bwMode="gray">
          <a:xfrm>
            <a:off x="400692" y="6421348"/>
            <a:ext cx="1366463" cy="32877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pic>
        <p:nvPicPr>
          <p:cNvPr id="11" name="Picture 10" descr="image.png">
            <a:extLst>
              <a:ext uri="{FF2B5EF4-FFF2-40B4-BE49-F238E27FC236}">
                <a16:creationId xmlns:a16="http://schemas.microsoft.com/office/drawing/2014/main" id="{81188EF0-00B1-CC92-CB92-40D4FDFE31B4}"/>
              </a:ext>
            </a:extLst>
          </p:cNvPr>
          <p:cNvPicPr>
            <a:picLocks noChangeAspect="1"/>
          </p:cNvPicPr>
          <p:nvPr/>
        </p:nvPicPr>
        <p:blipFill>
          <a:blip r:embed="rId2"/>
          <a:stretch>
            <a:fillRect/>
          </a:stretch>
        </p:blipFill>
        <p:spPr>
          <a:xfrm flipH="1">
            <a:off x="7072390" y="2906666"/>
            <a:ext cx="5119610" cy="3981559"/>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CF9BCDF-9836-B66D-7897-8DD8DD399F36}"/>
              </a:ext>
            </a:extLst>
          </p:cNvPr>
          <p:cNvSpPr/>
          <p:nvPr/>
        </p:nvSpPr>
        <p:spPr bwMode="gray">
          <a:xfrm>
            <a:off x="381663" y="6321287"/>
            <a:ext cx="2600076" cy="620202"/>
          </a:xfrm>
          <a:prstGeom prst="rect">
            <a:avLst/>
          </a:prstGeom>
          <a:solidFill>
            <a:schemeClr val="bg1">
              <a:lumMod val="100000"/>
            </a:schemeClr>
          </a:solidFill>
          <a:ln w="9525" cap="flat" cmpd="sng" algn="ctr">
            <a:solidFill>
              <a:schemeClr val="bg1">
                <a:lumMod val="100000"/>
              </a:schemeClr>
            </a:solidFill>
            <a:prstDash val="solid"/>
            <a:miter lim="800000"/>
            <a:headEnd type="none" w="med" len="med"/>
            <a:tailEnd type="none" w="med" len="me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pic>
        <p:nvPicPr>
          <p:cNvPr id="5" name="Picture 4">
            <a:extLst>
              <a:ext uri="{FF2B5EF4-FFF2-40B4-BE49-F238E27FC236}">
                <a16:creationId xmlns:a16="http://schemas.microsoft.com/office/drawing/2014/main" id="{031D77EB-E398-E032-537E-526D5D13D60F}"/>
              </a:ext>
            </a:extLst>
          </p:cNvPr>
          <p:cNvPicPr>
            <a:picLocks noChangeAspect="1"/>
          </p:cNvPicPr>
          <p:nvPr/>
        </p:nvPicPr>
        <p:blipFill>
          <a:blip r:embed="rId2"/>
          <a:stretch>
            <a:fillRect/>
          </a:stretch>
        </p:blipFill>
        <p:spPr>
          <a:xfrm>
            <a:off x="943292" y="0"/>
            <a:ext cx="10305415" cy="6858000"/>
          </a:xfrm>
          <a:prstGeom prst="rect">
            <a:avLst/>
          </a:prstGeom>
        </p:spPr>
      </p:pic>
    </p:spTree>
    <p:extLst>
      <p:ext uri="{BB962C8B-B14F-4D97-AF65-F5344CB8AC3E}">
        <p14:creationId xmlns:p14="http://schemas.microsoft.com/office/powerpoint/2010/main" val="23070503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DBD98F4C-3900-6FA8-35E0-FF10365AB675}"/>
              </a:ext>
            </a:extLst>
          </p:cNvPr>
          <p:cNvSpPr txBox="1">
            <a:spLocks/>
          </p:cNvSpPr>
          <p:nvPr/>
        </p:nvSpPr>
        <p:spPr>
          <a:xfrm>
            <a:off x="5691581" y="1494721"/>
            <a:ext cx="765203" cy="506280"/>
          </a:xfrm>
          <a:prstGeom prst="rect">
            <a:avLst/>
          </a:prstGeom>
          <a:noFill/>
        </p:spPr>
        <p:txBody>
          <a:bodyPr/>
          <a:lstStyle>
            <a:lvl1pPr marL="0" indent="0" algn="l" defTabSz="914400" rtl="0" eaLnBrk="1" latinLnBrk="0" hangingPunct="1">
              <a:lnSpc>
                <a:spcPct val="100000"/>
              </a:lnSpc>
              <a:spcBef>
                <a:spcPts val="0"/>
              </a:spcBef>
              <a:spcAft>
                <a:spcPts val="800"/>
              </a:spcAft>
              <a:buSzPct val="100000"/>
              <a:buFont typeface="Arial" panose="020B0604020202020204" pitchFamily="34" charset="0"/>
              <a:buNone/>
              <a:defRPr lang="en-US" sz="3500" b="0" kern="0" spc="175" dirty="0">
                <a:ln w="12700">
                  <a:solidFill>
                    <a:srgbClr val="181A20"/>
                  </a:solidFill>
                </a:ln>
                <a:noFill/>
                <a:latin typeface="Open Sans ExtraBold Italic" pitchFamily="34" charset="0"/>
                <a:ea typeface="Open Sans ExtraBold Italic" pitchFamily="34" charset="-122"/>
                <a:cs typeface="Open Sans ExtraBold Italic" pitchFamily="34" charset="-120"/>
              </a:defRPr>
            </a:lvl1pPr>
            <a:lvl2pPr marL="0" indent="0" algn="ctr" defTabSz="914400" rtl="0" eaLnBrk="1" latinLnBrk="0" hangingPunct="1">
              <a:lnSpc>
                <a:spcPct val="120000"/>
              </a:lnSpc>
              <a:spcBef>
                <a:spcPts val="0"/>
              </a:spcBef>
              <a:spcAft>
                <a:spcPts val="800"/>
              </a:spcAft>
              <a:buClrTx/>
              <a:buSzPct val="100000"/>
              <a:buFont typeface="Arial"/>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176400" indent="-176400" algn="ctr"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356400" indent="-176400" algn="ctr"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a:solidFill>
                  <a:schemeClr val="tx1"/>
                </a:solidFill>
                <a:latin typeface="+mn-lt"/>
                <a:ea typeface="+mn-ea"/>
                <a:cs typeface="Calibri Light" panose="020F0302020204030204" pitchFamily="34" charset="0"/>
              </a:defRPr>
            </a:lvl4pPr>
            <a:lvl5pPr marL="532800" indent="-176400" algn="ctr"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T"/>
              <a:t>01</a:t>
            </a:r>
          </a:p>
        </p:txBody>
      </p:sp>
      <p:sp>
        <p:nvSpPr>
          <p:cNvPr id="3" name="Text Placeholder 9">
            <a:extLst>
              <a:ext uri="{FF2B5EF4-FFF2-40B4-BE49-F238E27FC236}">
                <a16:creationId xmlns:a16="http://schemas.microsoft.com/office/drawing/2014/main" id="{95BC9732-46FA-3D12-FD37-FB931E32E0A4}"/>
              </a:ext>
            </a:extLst>
          </p:cNvPr>
          <p:cNvSpPr txBox="1">
            <a:spLocks/>
          </p:cNvSpPr>
          <p:nvPr/>
        </p:nvSpPr>
        <p:spPr>
          <a:xfrm>
            <a:off x="8516805" y="2711942"/>
            <a:ext cx="765203" cy="506280"/>
          </a:xfrm>
          <a:prstGeom prst="rect">
            <a:avLst/>
          </a:prstGeom>
          <a:noFill/>
        </p:spPr>
        <p:txBody>
          <a:bodyPr/>
          <a:lstStyle>
            <a:lvl1pPr marL="0" indent="0" algn="l" defTabSz="914400" rtl="0" eaLnBrk="1" latinLnBrk="0" hangingPunct="1">
              <a:lnSpc>
                <a:spcPct val="100000"/>
              </a:lnSpc>
              <a:spcBef>
                <a:spcPts val="0"/>
              </a:spcBef>
              <a:spcAft>
                <a:spcPts val="800"/>
              </a:spcAft>
              <a:buSzPct val="100000"/>
              <a:buFont typeface="Arial" panose="020B0604020202020204" pitchFamily="34" charset="0"/>
              <a:buNone/>
              <a:defRPr lang="en-US" sz="3500" b="0" kern="0" spc="175" dirty="0">
                <a:ln w="12700">
                  <a:solidFill>
                    <a:srgbClr val="181A20"/>
                  </a:solidFill>
                </a:ln>
                <a:noFill/>
                <a:latin typeface="Open Sans ExtraBold Italic" pitchFamily="34" charset="0"/>
                <a:ea typeface="Open Sans ExtraBold Italic" pitchFamily="34" charset="-122"/>
                <a:cs typeface="Open Sans ExtraBold Italic" pitchFamily="34" charset="-120"/>
              </a:defRPr>
            </a:lvl1pPr>
            <a:lvl2pPr marL="0" indent="0" algn="ctr" defTabSz="914400" rtl="0" eaLnBrk="1" latinLnBrk="0" hangingPunct="1">
              <a:lnSpc>
                <a:spcPct val="120000"/>
              </a:lnSpc>
              <a:spcBef>
                <a:spcPts val="0"/>
              </a:spcBef>
              <a:spcAft>
                <a:spcPts val="800"/>
              </a:spcAft>
              <a:buClrTx/>
              <a:buSzPct val="100000"/>
              <a:buFont typeface="Arial"/>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176400" indent="-176400" algn="ctr"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356400" indent="-176400" algn="ctr"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a:solidFill>
                  <a:schemeClr val="tx1"/>
                </a:solidFill>
                <a:latin typeface="+mn-lt"/>
                <a:ea typeface="+mn-ea"/>
                <a:cs typeface="Calibri Light" panose="020F0302020204030204" pitchFamily="34" charset="0"/>
              </a:defRPr>
            </a:lvl4pPr>
            <a:lvl5pPr marL="532800" indent="-176400" algn="ctr"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T"/>
              <a:t>05</a:t>
            </a:r>
          </a:p>
        </p:txBody>
      </p:sp>
      <p:sp>
        <p:nvSpPr>
          <p:cNvPr id="4" name="Text Placeholder 9">
            <a:extLst>
              <a:ext uri="{FF2B5EF4-FFF2-40B4-BE49-F238E27FC236}">
                <a16:creationId xmlns:a16="http://schemas.microsoft.com/office/drawing/2014/main" id="{AA0FB143-FF44-D501-763E-210A3A519245}"/>
              </a:ext>
            </a:extLst>
          </p:cNvPr>
          <p:cNvSpPr txBox="1">
            <a:spLocks/>
          </p:cNvSpPr>
          <p:nvPr/>
        </p:nvSpPr>
        <p:spPr>
          <a:xfrm>
            <a:off x="8522742" y="3929163"/>
            <a:ext cx="765203" cy="506280"/>
          </a:xfrm>
          <a:prstGeom prst="rect">
            <a:avLst/>
          </a:prstGeom>
          <a:noFill/>
        </p:spPr>
        <p:txBody>
          <a:bodyPr/>
          <a:lstStyle>
            <a:lvl1pPr marL="0" indent="0" algn="l" defTabSz="914400" rtl="0" eaLnBrk="1" latinLnBrk="0" hangingPunct="1">
              <a:lnSpc>
                <a:spcPct val="100000"/>
              </a:lnSpc>
              <a:spcBef>
                <a:spcPts val="0"/>
              </a:spcBef>
              <a:spcAft>
                <a:spcPts val="800"/>
              </a:spcAft>
              <a:buSzPct val="100000"/>
              <a:buFont typeface="Arial" panose="020B0604020202020204" pitchFamily="34" charset="0"/>
              <a:buNone/>
              <a:defRPr lang="en-US" sz="3500" b="0" kern="0" spc="175" dirty="0">
                <a:ln w="12700">
                  <a:solidFill>
                    <a:srgbClr val="181A20"/>
                  </a:solidFill>
                </a:ln>
                <a:noFill/>
                <a:latin typeface="Open Sans ExtraBold Italic" pitchFamily="34" charset="0"/>
                <a:ea typeface="Open Sans ExtraBold Italic" pitchFamily="34" charset="-122"/>
                <a:cs typeface="Open Sans ExtraBold Italic" pitchFamily="34" charset="-120"/>
              </a:defRPr>
            </a:lvl1pPr>
            <a:lvl2pPr marL="0" indent="0" algn="ctr" defTabSz="914400" rtl="0" eaLnBrk="1" latinLnBrk="0" hangingPunct="1">
              <a:lnSpc>
                <a:spcPct val="120000"/>
              </a:lnSpc>
              <a:spcBef>
                <a:spcPts val="0"/>
              </a:spcBef>
              <a:spcAft>
                <a:spcPts val="800"/>
              </a:spcAft>
              <a:buClrTx/>
              <a:buSzPct val="100000"/>
              <a:buFont typeface="Arial"/>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176400" indent="-176400" algn="ctr"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356400" indent="-176400" algn="ctr"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a:solidFill>
                  <a:schemeClr val="tx1"/>
                </a:solidFill>
                <a:latin typeface="+mn-lt"/>
                <a:ea typeface="+mn-ea"/>
                <a:cs typeface="Calibri Light" panose="020F0302020204030204" pitchFamily="34" charset="0"/>
              </a:defRPr>
            </a:lvl4pPr>
            <a:lvl5pPr marL="532800" indent="-176400" algn="ctr"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T"/>
              <a:t>06</a:t>
            </a:r>
          </a:p>
        </p:txBody>
      </p:sp>
      <p:pic>
        <p:nvPicPr>
          <p:cNvPr id="7" name="Picture 6" descr="image.png"/>
          <p:cNvPicPr>
            <a:picLocks noChangeAspect="1"/>
          </p:cNvPicPr>
          <p:nvPr/>
        </p:nvPicPr>
        <p:blipFill>
          <a:blip r:embed="rId2"/>
          <a:stretch>
            <a:fillRect/>
          </a:stretch>
        </p:blipFill>
        <p:spPr>
          <a:xfrm>
            <a:off x="0" y="2876441"/>
            <a:ext cx="4588933" cy="3981559"/>
          </a:xfrm>
          <a:prstGeom prst="rect">
            <a:avLst/>
          </a:prstGeom>
        </p:spPr>
      </p:pic>
      <p:sp>
        <p:nvSpPr>
          <p:cNvPr id="8" name="Text Placeholder 9">
            <a:extLst>
              <a:ext uri="{FF2B5EF4-FFF2-40B4-BE49-F238E27FC236}">
                <a16:creationId xmlns:a16="http://schemas.microsoft.com/office/drawing/2014/main" id="{C5CB6E19-6DE5-4C72-09F5-B5F15E6F25E5}"/>
              </a:ext>
            </a:extLst>
          </p:cNvPr>
          <p:cNvSpPr txBox="1">
            <a:spLocks/>
          </p:cNvSpPr>
          <p:nvPr/>
        </p:nvSpPr>
        <p:spPr>
          <a:xfrm>
            <a:off x="5693988" y="2711942"/>
            <a:ext cx="765203" cy="506280"/>
          </a:xfrm>
          <a:prstGeom prst="rect">
            <a:avLst/>
          </a:prstGeom>
          <a:noFill/>
        </p:spPr>
        <p:txBody>
          <a:bodyPr/>
          <a:lstStyle>
            <a:lvl1pPr marL="0" indent="0" algn="l" defTabSz="914400" rtl="0" eaLnBrk="1" latinLnBrk="0" hangingPunct="1">
              <a:lnSpc>
                <a:spcPct val="100000"/>
              </a:lnSpc>
              <a:spcBef>
                <a:spcPts val="0"/>
              </a:spcBef>
              <a:spcAft>
                <a:spcPts val="800"/>
              </a:spcAft>
              <a:buSzPct val="100000"/>
              <a:buFont typeface="Arial" panose="020B0604020202020204" pitchFamily="34" charset="0"/>
              <a:buNone/>
              <a:defRPr lang="en-US" sz="3500" b="0" kern="0" spc="175" dirty="0">
                <a:ln w="12700">
                  <a:solidFill>
                    <a:srgbClr val="181A20"/>
                  </a:solidFill>
                </a:ln>
                <a:noFill/>
                <a:latin typeface="Open Sans ExtraBold Italic" pitchFamily="34" charset="0"/>
                <a:ea typeface="Open Sans ExtraBold Italic" pitchFamily="34" charset="-122"/>
                <a:cs typeface="Open Sans ExtraBold Italic" pitchFamily="34" charset="-120"/>
              </a:defRPr>
            </a:lvl1pPr>
            <a:lvl2pPr marL="0" indent="0" algn="ctr" defTabSz="914400" rtl="0" eaLnBrk="1" latinLnBrk="0" hangingPunct="1">
              <a:lnSpc>
                <a:spcPct val="120000"/>
              </a:lnSpc>
              <a:spcBef>
                <a:spcPts val="0"/>
              </a:spcBef>
              <a:spcAft>
                <a:spcPts val="800"/>
              </a:spcAft>
              <a:buClrTx/>
              <a:buSzPct val="100000"/>
              <a:buFont typeface="Arial"/>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176400" indent="-176400" algn="ctr"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356400" indent="-176400" algn="ctr"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a:solidFill>
                  <a:schemeClr val="tx1"/>
                </a:solidFill>
                <a:latin typeface="+mn-lt"/>
                <a:ea typeface="+mn-ea"/>
                <a:cs typeface="Calibri Light" panose="020F0302020204030204" pitchFamily="34" charset="0"/>
              </a:defRPr>
            </a:lvl4pPr>
            <a:lvl5pPr marL="532800" indent="-176400" algn="ctr"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T"/>
              <a:t>02</a:t>
            </a:r>
          </a:p>
        </p:txBody>
      </p:sp>
      <p:sp>
        <p:nvSpPr>
          <p:cNvPr id="9" name="Text Placeholder 9">
            <a:extLst>
              <a:ext uri="{FF2B5EF4-FFF2-40B4-BE49-F238E27FC236}">
                <a16:creationId xmlns:a16="http://schemas.microsoft.com/office/drawing/2014/main" id="{DAA88F1E-1F4E-7F55-BF76-FEAFBB2259A8}"/>
              </a:ext>
            </a:extLst>
          </p:cNvPr>
          <p:cNvSpPr txBox="1">
            <a:spLocks/>
          </p:cNvSpPr>
          <p:nvPr/>
        </p:nvSpPr>
        <p:spPr>
          <a:xfrm>
            <a:off x="5688051" y="3935101"/>
            <a:ext cx="765203" cy="506280"/>
          </a:xfrm>
          <a:prstGeom prst="rect">
            <a:avLst/>
          </a:prstGeom>
          <a:noFill/>
        </p:spPr>
        <p:txBody>
          <a:bodyPr/>
          <a:lstStyle>
            <a:lvl1pPr marL="0" indent="0" algn="l" defTabSz="914400" rtl="0" eaLnBrk="1" latinLnBrk="0" hangingPunct="1">
              <a:lnSpc>
                <a:spcPct val="100000"/>
              </a:lnSpc>
              <a:spcBef>
                <a:spcPts val="0"/>
              </a:spcBef>
              <a:spcAft>
                <a:spcPts val="800"/>
              </a:spcAft>
              <a:buSzPct val="100000"/>
              <a:buFont typeface="Arial" panose="020B0604020202020204" pitchFamily="34" charset="0"/>
              <a:buNone/>
              <a:defRPr lang="en-US" sz="3500" b="0" kern="0" spc="175" dirty="0">
                <a:ln w="12700">
                  <a:solidFill>
                    <a:srgbClr val="181A20"/>
                  </a:solidFill>
                </a:ln>
                <a:noFill/>
                <a:latin typeface="Open Sans ExtraBold Italic" pitchFamily="34" charset="0"/>
                <a:ea typeface="Open Sans ExtraBold Italic" pitchFamily="34" charset="-122"/>
                <a:cs typeface="Open Sans ExtraBold Italic" pitchFamily="34" charset="-120"/>
              </a:defRPr>
            </a:lvl1pPr>
            <a:lvl2pPr marL="0" indent="0" algn="ctr" defTabSz="914400" rtl="0" eaLnBrk="1" latinLnBrk="0" hangingPunct="1">
              <a:lnSpc>
                <a:spcPct val="120000"/>
              </a:lnSpc>
              <a:spcBef>
                <a:spcPts val="0"/>
              </a:spcBef>
              <a:spcAft>
                <a:spcPts val="800"/>
              </a:spcAft>
              <a:buClrTx/>
              <a:buSzPct val="100000"/>
              <a:buFont typeface="Arial"/>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176400" indent="-176400" algn="ctr"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356400" indent="-176400" algn="ctr"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a:solidFill>
                  <a:schemeClr val="tx1"/>
                </a:solidFill>
                <a:latin typeface="+mn-lt"/>
                <a:ea typeface="+mn-ea"/>
                <a:cs typeface="Calibri Light" panose="020F0302020204030204" pitchFamily="34" charset="0"/>
              </a:defRPr>
            </a:lvl4pPr>
            <a:lvl5pPr marL="532800" indent="-176400" algn="ctr"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T"/>
              <a:t>03</a:t>
            </a:r>
          </a:p>
        </p:txBody>
      </p:sp>
      <p:sp>
        <p:nvSpPr>
          <p:cNvPr id="10" name="Text Placeholder 9">
            <a:extLst>
              <a:ext uri="{FF2B5EF4-FFF2-40B4-BE49-F238E27FC236}">
                <a16:creationId xmlns:a16="http://schemas.microsoft.com/office/drawing/2014/main" id="{31EFED53-B2DB-EA5B-16F2-F628521F450B}"/>
              </a:ext>
            </a:extLst>
          </p:cNvPr>
          <p:cNvSpPr txBox="1">
            <a:spLocks/>
          </p:cNvSpPr>
          <p:nvPr/>
        </p:nvSpPr>
        <p:spPr>
          <a:xfrm>
            <a:off x="8516805" y="1464370"/>
            <a:ext cx="765203" cy="506280"/>
          </a:xfrm>
          <a:prstGeom prst="rect">
            <a:avLst/>
          </a:prstGeom>
          <a:noFill/>
        </p:spPr>
        <p:txBody>
          <a:bodyPr/>
          <a:lstStyle>
            <a:lvl1pPr marL="0" indent="0" algn="l" defTabSz="914400" rtl="0" eaLnBrk="1" latinLnBrk="0" hangingPunct="1">
              <a:lnSpc>
                <a:spcPct val="100000"/>
              </a:lnSpc>
              <a:spcBef>
                <a:spcPts val="0"/>
              </a:spcBef>
              <a:spcAft>
                <a:spcPts val="800"/>
              </a:spcAft>
              <a:buSzPct val="100000"/>
              <a:buFont typeface="Arial" panose="020B0604020202020204" pitchFamily="34" charset="0"/>
              <a:buNone/>
              <a:defRPr lang="en-US" sz="3500" b="0" kern="0" spc="175" dirty="0">
                <a:ln w="12700">
                  <a:solidFill>
                    <a:srgbClr val="181A20"/>
                  </a:solidFill>
                </a:ln>
                <a:noFill/>
                <a:latin typeface="Open Sans ExtraBold Italic" pitchFamily="34" charset="0"/>
                <a:ea typeface="Open Sans ExtraBold Italic" pitchFamily="34" charset="-122"/>
                <a:cs typeface="Open Sans ExtraBold Italic" pitchFamily="34" charset="-120"/>
              </a:defRPr>
            </a:lvl1pPr>
            <a:lvl2pPr marL="0" indent="0" algn="ctr" defTabSz="914400" rtl="0" eaLnBrk="1" latinLnBrk="0" hangingPunct="1">
              <a:lnSpc>
                <a:spcPct val="120000"/>
              </a:lnSpc>
              <a:spcBef>
                <a:spcPts val="0"/>
              </a:spcBef>
              <a:spcAft>
                <a:spcPts val="800"/>
              </a:spcAft>
              <a:buClrTx/>
              <a:buSzPct val="100000"/>
              <a:buFont typeface="Arial"/>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176400" indent="-176400" algn="ctr"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356400" indent="-176400" algn="ctr"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a:solidFill>
                  <a:schemeClr val="tx1"/>
                </a:solidFill>
                <a:latin typeface="+mn-lt"/>
                <a:ea typeface="+mn-ea"/>
                <a:cs typeface="Calibri Light" panose="020F0302020204030204" pitchFamily="34" charset="0"/>
              </a:defRPr>
            </a:lvl4pPr>
            <a:lvl5pPr marL="532800" indent="-176400" algn="ctr"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T"/>
              <a:t>04</a:t>
            </a:r>
          </a:p>
        </p:txBody>
      </p:sp>
      <p:sp>
        <p:nvSpPr>
          <p:cNvPr id="11" name="Text Placeholder 8" descr="Text content for first section:&#10;        - Must be a paragraph between 15-20 words&#10;        - Must be complete, clear, and impactful">
            <a:extLst>
              <a:ext uri="{FF2B5EF4-FFF2-40B4-BE49-F238E27FC236}">
                <a16:creationId xmlns:a16="http://schemas.microsoft.com/office/drawing/2014/main" id="{2569972E-0074-509B-D0F8-71BE2BC3C5B6}"/>
              </a:ext>
            </a:extLst>
          </p:cNvPr>
          <p:cNvSpPr txBox="1">
            <a:spLocks/>
          </p:cNvSpPr>
          <p:nvPr/>
        </p:nvSpPr>
        <p:spPr>
          <a:xfrm>
            <a:off x="914400" y="1599259"/>
            <a:ext cx="4173446" cy="1064564"/>
          </a:xfrm>
          <a:prstGeom prst="rect">
            <a:avLst/>
          </a:prstGeom>
        </p:spPr>
        <p:txBody>
          <a:bodyPr>
            <a:normAutofit/>
          </a:bodyPr>
          <a:lstStyle>
            <a:lvl1pPr marL="0" indent="0" algn="l" defTabSz="914400" rtl="0" eaLnBrk="1" latinLnBrk="0" hangingPunct="1">
              <a:lnSpc>
                <a:spcPct val="130000"/>
              </a:lnSpc>
              <a:spcBef>
                <a:spcPts val="0"/>
              </a:spcBef>
              <a:spcAft>
                <a:spcPts val="1000"/>
              </a:spcAft>
              <a:buSzPct val="100000"/>
              <a:buFont typeface="Arial" panose="020B0604020202020204" pitchFamily="34" charset="0"/>
              <a:buNone/>
              <a:defRPr sz="12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latin typeface="Open Sans Light"/>
              </a:rPr>
              <a:t>This presentation outlines the transition from preparing data for AI to using AI to manage data.</a:t>
            </a:r>
            <a:endParaRPr lang="en-US" dirty="0"/>
          </a:p>
        </p:txBody>
      </p:sp>
      <p:sp>
        <p:nvSpPr>
          <p:cNvPr id="12" name="Text Placeholder 8" descr="A clear, concise title that captures the main topic of the section">
            <a:extLst>
              <a:ext uri="{FF2B5EF4-FFF2-40B4-BE49-F238E27FC236}">
                <a16:creationId xmlns:a16="http://schemas.microsoft.com/office/drawing/2014/main" id="{143263E8-A9F0-E9EB-E3B5-878B6F47E8FF}"/>
              </a:ext>
            </a:extLst>
          </p:cNvPr>
          <p:cNvSpPr txBox="1">
            <a:spLocks/>
          </p:cNvSpPr>
          <p:nvPr/>
        </p:nvSpPr>
        <p:spPr>
          <a:xfrm>
            <a:off x="6518806" y="1521058"/>
            <a:ext cx="1933570" cy="780381"/>
          </a:xfrm>
          <a:prstGeom prst="rect">
            <a:avLst/>
          </a:prstGeom>
        </p:spPr>
        <p:txBody>
          <a:bodyPr>
            <a:noAutofit/>
          </a:bodyPr>
          <a:lstStyle>
            <a:lvl1pPr marL="0" indent="0" algn="l" defTabSz="914400" rtl="0" eaLnBrk="1" latinLnBrk="0" hangingPunct="1">
              <a:lnSpc>
                <a:spcPct val="80000"/>
              </a:lnSpc>
              <a:spcBef>
                <a:spcPts val="0"/>
              </a:spcBef>
              <a:spcAft>
                <a:spcPts val="400"/>
              </a:spcAft>
              <a:buSzPct val="100000"/>
              <a:buFont typeface="Arial" panose="020B0604020202020204" pitchFamily="34" charset="0"/>
              <a:buNone/>
              <a:defRPr sz="1600" b="1" i="1"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000" dirty="0">
                <a:latin typeface="Open Sans Light"/>
              </a:rPr>
              <a:t>Market trends and needs</a:t>
            </a:r>
            <a:endParaRPr lang="en-US" sz="2000" dirty="0"/>
          </a:p>
        </p:txBody>
      </p:sp>
      <p:sp>
        <p:nvSpPr>
          <p:cNvPr id="30" name="TextBox 29">
            <a:extLst>
              <a:ext uri="{FF2B5EF4-FFF2-40B4-BE49-F238E27FC236}">
                <a16:creationId xmlns:a16="http://schemas.microsoft.com/office/drawing/2014/main" id="{6D30238B-F56A-B5F0-8F48-F28CEDA2E7B2}"/>
              </a:ext>
            </a:extLst>
          </p:cNvPr>
          <p:cNvSpPr txBox="1"/>
          <p:nvPr/>
        </p:nvSpPr>
        <p:spPr>
          <a:xfrm>
            <a:off x="914400" y="958090"/>
            <a:ext cx="3009900" cy="506280"/>
          </a:xfrm>
          <a:prstGeom prst="rect">
            <a:avLst/>
          </a:prstGeom>
          <a:noFill/>
        </p:spPr>
        <p:txBody>
          <a:bodyPr wrap="square" lIns="0" tIns="0" rIns="0" bIns="0" rtlCol="0">
            <a:noAutofit/>
          </a:bodyPr>
          <a:lstStyle/>
          <a:p>
            <a:pPr algn="l">
              <a:spcBef>
                <a:spcPts val="600"/>
              </a:spcBef>
              <a:buSzPct val="100000"/>
            </a:pPr>
            <a:r>
              <a:rPr lang="en-US" sz="3200" b="0" dirty="0">
                <a:latin typeface="+mj-lt"/>
              </a:rPr>
              <a:t>Contents</a:t>
            </a:r>
          </a:p>
        </p:txBody>
      </p:sp>
      <p:sp>
        <p:nvSpPr>
          <p:cNvPr id="31" name="Rectangle 2">
            <a:extLst>
              <a:ext uri="{FF2B5EF4-FFF2-40B4-BE49-F238E27FC236}">
                <a16:creationId xmlns:a16="http://schemas.microsoft.com/office/drawing/2014/main" id="{3DD9DD35-123E-D2BF-C822-F4A3370911DA}"/>
              </a:ext>
            </a:extLst>
          </p:cNvPr>
          <p:cNvSpPr>
            <a:spLocks/>
          </p:cNvSpPr>
          <p:nvPr/>
        </p:nvSpPr>
        <p:spPr bwMode="auto">
          <a:xfrm>
            <a:off x="8577008" y="6477000"/>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r>
              <a:rPr lang="en-US" sz="680" dirty="0">
                <a:solidFill>
                  <a:schemeClr val="tx2">
                    <a:lumMod val="75000"/>
                  </a:schemeClr>
                </a:solidFill>
                <a:latin typeface="Open Sans" charset="0"/>
                <a:ea typeface="Open Sans" charset="0"/>
                <a:cs typeface="Open Sans" charset="0"/>
                <a:sym typeface="Frutiger Next Pro Light" charset="0"/>
              </a:rPr>
              <a:t> </a:t>
            </a:r>
            <a:r>
              <a:rPr lang="en-US" sz="680" b="0" i="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Copyright © </a:t>
            </a:r>
            <a:r>
              <a:rPr lang="it-IT" sz="680" b="0" i="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Deloitte Consulting S.r.l. S.B. </a:t>
            </a:r>
            <a:r>
              <a:rPr lang="en-US" sz="680" b="0" i="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All rights reserved. </a:t>
            </a:r>
            <a:endParaRPr lang="en-US" sz="680" dirty="0">
              <a:solidFill>
                <a:schemeClr val="tx2">
                  <a:lumMod val="75000"/>
                </a:schemeClr>
              </a:solidFill>
              <a:latin typeface="Open Sans" charset="0"/>
              <a:ea typeface="Open Sans" charset="0"/>
              <a:cs typeface="Open Sans" charset="0"/>
              <a:sym typeface="Frutiger Next Pro Light" charset="0"/>
            </a:endParaRPr>
          </a:p>
        </p:txBody>
      </p:sp>
      <p:sp>
        <p:nvSpPr>
          <p:cNvPr id="13" name="Text Placeholder 8" descr="A clear, concise title that captures the main topic of the section">
            <a:extLst>
              <a:ext uri="{FF2B5EF4-FFF2-40B4-BE49-F238E27FC236}">
                <a16:creationId xmlns:a16="http://schemas.microsoft.com/office/drawing/2014/main" id="{6641DAD0-85DA-AFFB-2536-6921A71E8192}"/>
              </a:ext>
            </a:extLst>
          </p:cNvPr>
          <p:cNvSpPr txBox="1">
            <a:spLocks/>
          </p:cNvSpPr>
          <p:nvPr/>
        </p:nvSpPr>
        <p:spPr>
          <a:xfrm>
            <a:off x="6521213" y="2757771"/>
            <a:ext cx="1933570" cy="780381"/>
          </a:xfrm>
          <a:prstGeom prst="rect">
            <a:avLst/>
          </a:prstGeom>
        </p:spPr>
        <p:txBody>
          <a:bodyPr>
            <a:noAutofit/>
          </a:bodyPr>
          <a:lstStyle>
            <a:lvl1pPr marL="0" indent="0" algn="l" defTabSz="914400" rtl="0" eaLnBrk="1" latinLnBrk="0" hangingPunct="1">
              <a:lnSpc>
                <a:spcPct val="80000"/>
              </a:lnSpc>
              <a:spcBef>
                <a:spcPts val="0"/>
              </a:spcBef>
              <a:spcAft>
                <a:spcPts val="400"/>
              </a:spcAft>
              <a:buSzPct val="100000"/>
              <a:buFont typeface="Arial" panose="020B0604020202020204" pitchFamily="34" charset="0"/>
              <a:buNone/>
              <a:defRPr sz="1600" b="1" i="1"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000" dirty="0">
                <a:latin typeface="Open Sans Light"/>
              </a:rPr>
              <a:t>Gen- and Agentic AI</a:t>
            </a:r>
            <a:endParaRPr lang="en-US" sz="2000" dirty="0"/>
          </a:p>
        </p:txBody>
      </p:sp>
      <p:sp>
        <p:nvSpPr>
          <p:cNvPr id="15" name="Text Placeholder 8" descr="A clear, concise title that captures the main topic of the section">
            <a:extLst>
              <a:ext uri="{FF2B5EF4-FFF2-40B4-BE49-F238E27FC236}">
                <a16:creationId xmlns:a16="http://schemas.microsoft.com/office/drawing/2014/main" id="{603CEF20-A85A-D1FD-4568-BC4B0A919E27}"/>
              </a:ext>
            </a:extLst>
          </p:cNvPr>
          <p:cNvSpPr txBox="1">
            <a:spLocks/>
          </p:cNvSpPr>
          <p:nvPr/>
        </p:nvSpPr>
        <p:spPr>
          <a:xfrm>
            <a:off x="6521213" y="3935101"/>
            <a:ext cx="1933570" cy="780381"/>
          </a:xfrm>
          <a:prstGeom prst="rect">
            <a:avLst/>
          </a:prstGeom>
        </p:spPr>
        <p:txBody>
          <a:bodyPr>
            <a:noAutofit/>
          </a:bodyPr>
          <a:lstStyle>
            <a:lvl1pPr marL="0" indent="0" algn="l" defTabSz="914400" rtl="0" eaLnBrk="1" latinLnBrk="0" hangingPunct="1">
              <a:lnSpc>
                <a:spcPct val="80000"/>
              </a:lnSpc>
              <a:spcBef>
                <a:spcPts val="0"/>
              </a:spcBef>
              <a:spcAft>
                <a:spcPts val="400"/>
              </a:spcAft>
              <a:buSzPct val="100000"/>
              <a:buFont typeface="Arial" panose="020B0604020202020204" pitchFamily="34" charset="0"/>
              <a:buNone/>
              <a:defRPr sz="1600" b="1" i="1"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000" dirty="0">
                <a:latin typeface="Open Sans Light"/>
              </a:rPr>
              <a:t>Five data-management tasks</a:t>
            </a:r>
            <a:endParaRPr lang="en-US" sz="2000" dirty="0"/>
          </a:p>
        </p:txBody>
      </p:sp>
      <p:sp>
        <p:nvSpPr>
          <p:cNvPr id="17" name="Text Placeholder 8" descr="A clear, concise title that captures the main topic of the section">
            <a:extLst>
              <a:ext uri="{FF2B5EF4-FFF2-40B4-BE49-F238E27FC236}">
                <a16:creationId xmlns:a16="http://schemas.microsoft.com/office/drawing/2014/main" id="{93C92DDF-79FF-5A86-2BC3-7385843478AC}"/>
              </a:ext>
            </a:extLst>
          </p:cNvPr>
          <p:cNvSpPr txBox="1">
            <a:spLocks/>
          </p:cNvSpPr>
          <p:nvPr/>
        </p:nvSpPr>
        <p:spPr>
          <a:xfrm>
            <a:off x="9344030" y="1464370"/>
            <a:ext cx="1933570" cy="780381"/>
          </a:xfrm>
          <a:prstGeom prst="rect">
            <a:avLst/>
          </a:prstGeom>
        </p:spPr>
        <p:txBody>
          <a:bodyPr>
            <a:noAutofit/>
          </a:bodyPr>
          <a:lstStyle>
            <a:lvl1pPr marL="0" indent="0" algn="l" defTabSz="914400" rtl="0" eaLnBrk="1" latinLnBrk="0" hangingPunct="1">
              <a:lnSpc>
                <a:spcPct val="80000"/>
              </a:lnSpc>
              <a:spcBef>
                <a:spcPts val="0"/>
              </a:spcBef>
              <a:spcAft>
                <a:spcPts val="400"/>
              </a:spcAft>
              <a:buSzPct val="100000"/>
              <a:buFont typeface="Arial" panose="020B0604020202020204" pitchFamily="34" charset="0"/>
              <a:buNone/>
              <a:defRPr sz="1600" b="1" i="1"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000" dirty="0">
                <a:latin typeface="Open Sans Light"/>
              </a:rPr>
              <a:t>Interactive notebook examples</a:t>
            </a:r>
            <a:endParaRPr lang="en-US" sz="2000" dirty="0"/>
          </a:p>
        </p:txBody>
      </p:sp>
      <p:sp>
        <p:nvSpPr>
          <p:cNvPr id="19" name="Text Placeholder 8" descr="A clear, concise title that captures the main topic of the section">
            <a:extLst>
              <a:ext uri="{FF2B5EF4-FFF2-40B4-BE49-F238E27FC236}">
                <a16:creationId xmlns:a16="http://schemas.microsoft.com/office/drawing/2014/main" id="{9BEEB03B-760E-7E87-53CC-23E22BE0CD49}"/>
              </a:ext>
            </a:extLst>
          </p:cNvPr>
          <p:cNvSpPr txBox="1">
            <a:spLocks/>
          </p:cNvSpPr>
          <p:nvPr/>
        </p:nvSpPr>
        <p:spPr>
          <a:xfrm>
            <a:off x="9282008" y="2864427"/>
            <a:ext cx="1933570" cy="780381"/>
          </a:xfrm>
          <a:prstGeom prst="rect">
            <a:avLst/>
          </a:prstGeom>
        </p:spPr>
        <p:txBody>
          <a:bodyPr>
            <a:noAutofit/>
          </a:bodyPr>
          <a:lstStyle>
            <a:lvl1pPr marL="0" indent="0" algn="l" defTabSz="914400" rtl="0" eaLnBrk="1" latinLnBrk="0" hangingPunct="1">
              <a:lnSpc>
                <a:spcPct val="80000"/>
              </a:lnSpc>
              <a:spcBef>
                <a:spcPts val="0"/>
              </a:spcBef>
              <a:spcAft>
                <a:spcPts val="400"/>
              </a:spcAft>
              <a:buSzPct val="100000"/>
              <a:buFont typeface="Arial" panose="020B0604020202020204" pitchFamily="34" charset="0"/>
              <a:buNone/>
              <a:defRPr sz="1600" b="1" i="1"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000" dirty="0">
                <a:latin typeface="Open Sans Light"/>
              </a:rPr>
              <a:t>Tool overview</a:t>
            </a:r>
            <a:endParaRPr lang="en-US" sz="2000" dirty="0"/>
          </a:p>
        </p:txBody>
      </p:sp>
      <p:sp>
        <p:nvSpPr>
          <p:cNvPr id="21" name="Text Placeholder 8" descr="A clear, concise title that captures the main topic of the section">
            <a:extLst>
              <a:ext uri="{FF2B5EF4-FFF2-40B4-BE49-F238E27FC236}">
                <a16:creationId xmlns:a16="http://schemas.microsoft.com/office/drawing/2014/main" id="{71F26BC6-E4E5-030A-75BB-B97E8A59C7F9}"/>
              </a:ext>
            </a:extLst>
          </p:cNvPr>
          <p:cNvSpPr txBox="1">
            <a:spLocks/>
          </p:cNvSpPr>
          <p:nvPr/>
        </p:nvSpPr>
        <p:spPr>
          <a:xfrm>
            <a:off x="9282008" y="4045252"/>
            <a:ext cx="1933570" cy="780381"/>
          </a:xfrm>
          <a:prstGeom prst="rect">
            <a:avLst/>
          </a:prstGeom>
        </p:spPr>
        <p:txBody>
          <a:bodyPr>
            <a:noAutofit/>
          </a:bodyPr>
          <a:lstStyle>
            <a:lvl1pPr marL="0" indent="0" algn="l" defTabSz="914400" rtl="0" eaLnBrk="1" latinLnBrk="0" hangingPunct="1">
              <a:lnSpc>
                <a:spcPct val="80000"/>
              </a:lnSpc>
              <a:spcBef>
                <a:spcPts val="0"/>
              </a:spcBef>
              <a:spcAft>
                <a:spcPts val="400"/>
              </a:spcAft>
              <a:buSzPct val="100000"/>
              <a:buFont typeface="Arial" panose="020B0604020202020204" pitchFamily="34" charset="0"/>
              <a:buNone/>
              <a:defRPr sz="1600" b="1" i="1"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000" dirty="0">
                <a:latin typeface="Open Sans Light"/>
              </a:rPr>
              <a:t>Take home message</a:t>
            </a:r>
            <a:endParaRPr lang="en-US" sz="20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EB24A7D-B74B-C169-BA97-12BB22034C22}"/>
              </a:ext>
            </a:extLst>
          </p:cNvPr>
          <p:cNvPicPr>
            <a:picLocks noChangeAspect="1"/>
          </p:cNvPicPr>
          <p:nvPr/>
        </p:nvPicPr>
        <p:blipFill>
          <a:blip r:embed="rId2"/>
          <a:stretch>
            <a:fillRect/>
          </a:stretch>
        </p:blipFill>
        <p:spPr>
          <a:xfrm>
            <a:off x="55660" y="802577"/>
            <a:ext cx="12192000" cy="5936657"/>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image.jpeg"/>
          <p:cNvPicPr>
            <a:picLocks noChangeAspect="1"/>
          </p:cNvPicPr>
          <p:nvPr/>
        </p:nvPicPr>
        <p:blipFill>
          <a:blip r:embed="rId2"/>
          <a:stretch>
            <a:fillRect/>
          </a:stretch>
        </p:blipFill>
        <p:spPr>
          <a:xfrm rot="10800000">
            <a:off x="5194300" y="8742"/>
            <a:ext cx="6997700" cy="2057205"/>
          </a:xfrm>
          <a:prstGeom prst="rect">
            <a:avLst/>
          </a:prstGeom>
        </p:spPr>
      </p:pic>
      <p:sp>
        <p:nvSpPr>
          <p:cNvPr id="4" name="Rectangle 3">
            <a:extLst>
              <a:ext uri="{FF2B5EF4-FFF2-40B4-BE49-F238E27FC236}">
                <a16:creationId xmlns:a16="http://schemas.microsoft.com/office/drawing/2014/main" id="{0D4769AE-3EC5-A67D-171C-B9165367CBF8}"/>
              </a:ext>
            </a:extLst>
          </p:cNvPr>
          <p:cNvSpPr/>
          <p:nvPr/>
        </p:nvSpPr>
        <p:spPr>
          <a:xfrm>
            <a:off x="7918961" y="2829301"/>
            <a:ext cx="3840480" cy="686355"/>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Open Sans" panose="020B0606030504020204" pitchFamily="34" charset="0"/>
                <a:ea typeface="Open Sans" panose="020B0606030504020204" pitchFamily="34" charset="0"/>
                <a:cs typeface="Open Sans" panose="020B0606030504020204" pitchFamily="34" charset="0"/>
              </a:rPr>
              <a:t>Organizations </a:t>
            </a: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hould fully embrace automation to scale to demand and expedite Data Cataloguing, Lineage, and governance capabilities</a:t>
            </a:r>
          </a:p>
        </p:txBody>
      </p:sp>
      <p:sp>
        <p:nvSpPr>
          <p:cNvPr id="6" name="Rectangle 5">
            <a:extLst>
              <a:ext uri="{FF2B5EF4-FFF2-40B4-BE49-F238E27FC236}">
                <a16:creationId xmlns:a16="http://schemas.microsoft.com/office/drawing/2014/main" id="{EA044118-BD05-C8C8-2076-C0CEAEB1C611}"/>
              </a:ext>
            </a:extLst>
          </p:cNvPr>
          <p:cNvSpPr/>
          <p:nvPr/>
        </p:nvSpPr>
        <p:spPr>
          <a:xfrm>
            <a:off x="7918961" y="4013374"/>
            <a:ext cx="3840480"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zation should move towards centralized self-service data &amp; analytics </a:t>
            </a:r>
          </a:p>
        </p:txBody>
      </p:sp>
      <p:sp>
        <p:nvSpPr>
          <p:cNvPr id="24" name="Rectangle 23">
            <a:extLst>
              <a:ext uri="{FF2B5EF4-FFF2-40B4-BE49-F238E27FC236}">
                <a16:creationId xmlns:a16="http://schemas.microsoft.com/office/drawing/2014/main" id="{9622D777-BF2E-D2F6-B62F-5C0A6CD0AC19}"/>
              </a:ext>
            </a:extLst>
          </p:cNvPr>
          <p:cNvSpPr/>
          <p:nvPr/>
        </p:nvSpPr>
        <p:spPr>
          <a:xfrm>
            <a:off x="7918961" y="5203602"/>
            <a:ext cx="3840480" cy="88202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zation should build skills in AI/GenAI to integrate these technologies and capabilities into their data governance program</a:t>
            </a:r>
          </a:p>
        </p:txBody>
      </p:sp>
      <p:sp>
        <p:nvSpPr>
          <p:cNvPr id="25" name="Rectangle 24">
            <a:extLst>
              <a:ext uri="{FF2B5EF4-FFF2-40B4-BE49-F238E27FC236}">
                <a16:creationId xmlns:a16="http://schemas.microsoft.com/office/drawing/2014/main" id="{92D020FE-5E69-6AD4-B262-987513D96DBD}"/>
              </a:ext>
            </a:extLst>
          </p:cNvPr>
          <p:cNvSpPr/>
          <p:nvPr/>
        </p:nvSpPr>
        <p:spPr>
          <a:xfrm>
            <a:off x="465624" y="2892608"/>
            <a:ext cx="5303520" cy="475488"/>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ata volume and complexity is increasing at a pace that exceeds data governance resource bandwidth to support and govern</a:t>
            </a:r>
          </a:p>
        </p:txBody>
      </p:sp>
      <p:sp>
        <p:nvSpPr>
          <p:cNvPr id="26" name="Rectangle 25">
            <a:extLst>
              <a:ext uri="{FF2B5EF4-FFF2-40B4-BE49-F238E27FC236}">
                <a16:creationId xmlns:a16="http://schemas.microsoft.com/office/drawing/2014/main" id="{AFF2B296-5342-3DDC-7701-C77B485C5BA6}"/>
              </a:ext>
            </a:extLst>
          </p:cNvPr>
          <p:cNvSpPr/>
          <p:nvPr/>
        </p:nvSpPr>
        <p:spPr>
          <a:xfrm>
            <a:off x="465624" y="3569328"/>
            <a:ext cx="5303520" cy="475488"/>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demand business analytics and decision-making needs and appetite for high-quality data are increasing</a:t>
            </a:r>
          </a:p>
        </p:txBody>
      </p:sp>
      <p:sp>
        <p:nvSpPr>
          <p:cNvPr id="27" name="Rectangle 26">
            <a:extLst>
              <a:ext uri="{FF2B5EF4-FFF2-40B4-BE49-F238E27FC236}">
                <a16:creationId xmlns:a16="http://schemas.microsoft.com/office/drawing/2014/main" id="{766FD445-335B-A540-A6F2-EB5A79F15C6A}"/>
              </a:ext>
            </a:extLst>
          </p:cNvPr>
          <p:cNvSpPr/>
          <p:nvPr/>
        </p:nvSpPr>
        <p:spPr>
          <a:xfrm>
            <a:off x="465624" y="4246048"/>
            <a:ext cx="5303520" cy="475488"/>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w technologies and capabilities, such as ML, AI, and GenAI, are generating more data while demanding more high-quality data </a:t>
            </a:r>
          </a:p>
        </p:txBody>
      </p:sp>
      <p:sp>
        <p:nvSpPr>
          <p:cNvPr id="28" name="Rectangle 27">
            <a:extLst>
              <a:ext uri="{FF2B5EF4-FFF2-40B4-BE49-F238E27FC236}">
                <a16:creationId xmlns:a16="http://schemas.microsoft.com/office/drawing/2014/main" id="{530EADAB-F345-55BB-E0E3-E6CF87DE3450}"/>
              </a:ext>
            </a:extLst>
          </p:cNvPr>
          <p:cNvSpPr/>
          <p:nvPr/>
        </p:nvSpPr>
        <p:spPr>
          <a:xfrm>
            <a:off x="465624" y="4922768"/>
            <a:ext cx="5303520" cy="475488"/>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ata stewards who report to business functions are typically not in full-time roles and prioritize business activities over steward activities. </a:t>
            </a:r>
          </a:p>
        </p:txBody>
      </p:sp>
      <p:sp>
        <p:nvSpPr>
          <p:cNvPr id="29" name="Rectangle 28">
            <a:extLst>
              <a:ext uri="{FF2B5EF4-FFF2-40B4-BE49-F238E27FC236}">
                <a16:creationId xmlns:a16="http://schemas.microsoft.com/office/drawing/2014/main" id="{0618CFBA-E40B-35DF-58FC-BBF3CC4F6389}"/>
              </a:ext>
            </a:extLst>
          </p:cNvPr>
          <p:cNvSpPr/>
          <p:nvPr/>
        </p:nvSpPr>
        <p:spPr>
          <a:xfrm>
            <a:off x="465624" y="5599488"/>
            <a:ext cx="5303520" cy="478415"/>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ata governance organizations are struggling to scale to demand and typically do not have the budget to increase headcount</a:t>
            </a:r>
          </a:p>
        </p:txBody>
      </p:sp>
      <p:cxnSp>
        <p:nvCxnSpPr>
          <p:cNvPr id="30" name="Straight Connector 29">
            <a:extLst>
              <a:ext uri="{FF2B5EF4-FFF2-40B4-BE49-F238E27FC236}">
                <a16:creationId xmlns:a16="http://schemas.microsoft.com/office/drawing/2014/main" id="{74BBC348-1729-0551-EF6C-E87FDD901845}"/>
              </a:ext>
            </a:extLst>
          </p:cNvPr>
          <p:cNvCxnSpPr/>
          <p:nvPr/>
        </p:nvCxnSpPr>
        <p:spPr>
          <a:xfrm>
            <a:off x="7918961" y="2645505"/>
            <a:ext cx="701040" cy="0"/>
          </a:xfrm>
          <a:prstGeom prst="line">
            <a:avLst/>
          </a:prstGeom>
          <a:ln w="38100" cap="flat" cmpd="sng" algn="ctr">
            <a:solidFill>
              <a:schemeClr val="accent6">
                <a:lumMod val="10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AC93A7C-D07A-2972-0A2F-2A7E5D10FA14}"/>
              </a:ext>
            </a:extLst>
          </p:cNvPr>
          <p:cNvCxnSpPr/>
          <p:nvPr/>
        </p:nvCxnSpPr>
        <p:spPr>
          <a:xfrm>
            <a:off x="7921024" y="3993619"/>
            <a:ext cx="701040" cy="0"/>
          </a:xfrm>
          <a:prstGeom prst="line">
            <a:avLst/>
          </a:prstGeom>
          <a:ln w="38100" cap="flat" cmpd="sng" algn="ctr">
            <a:solidFill>
              <a:schemeClr val="accent6">
                <a:lumMod val="10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99F4E1-C882-4FCC-CE3C-64E99101AFAF}"/>
              </a:ext>
            </a:extLst>
          </p:cNvPr>
          <p:cNvCxnSpPr/>
          <p:nvPr/>
        </p:nvCxnSpPr>
        <p:spPr>
          <a:xfrm>
            <a:off x="7921024" y="5061090"/>
            <a:ext cx="701040" cy="0"/>
          </a:xfrm>
          <a:prstGeom prst="line">
            <a:avLst/>
          </a:prstGeom>
          <a:ln w="38100" cap="flat" cmpd="sng" algn="ctr">
            <a:solidFill>
              <a:schemeClr val="accent6">
                <a:lumMod val="10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6D74E75B-05DF-EF3B-09DE-B72AFA529DDD}"/>
              </a:ext>
            </a:extLst>
          </p:cNvPr>
          <p:cNvSpPr/>
          <p:nvPr/>
        </p:nvSpPr>
        <p:spPr>
          <a:xfrm>
            <a:off x="311511" y="510418"/>
            <a:ext cx="4805020" cy="1424814"/>
          </a:xfrm>
          <a:prstGeom prst="rect">
            <a:avLst/>
          </a:prstGeom>
        </p:spPr>
        <p:txBody>
          <a:bodyPr wrap="square">
            <a:spAutoFit/>
          </a:bodyPr>
          <a:lstStyle/>
          <a:p>
            <a:pPr marL="0" marR="0" lvl="1" indent="0" algn="l" defTabSz="914400" rtl="0" eaLnBrk="0" fontAlgn="auto" latinLnBrk="0" hangingPunct="0">
              <a:lnSpc>
                <a:spcPct val="90000"/>
              </a:lnSpc>
              <a:spcBef>
                <a:spcPts val="300"/>
              </a:spcBef>
              <a:spcAft>
                <a:spcPts val="0"/>
              </a:spcAft>
              <a:buClrTx/>
              <a:buSzPct val="100000"/>
              <a:buFontTx/>
              <a:buNone/>
              <a:tabLst>
                <a:tab pos="1544187" algn="l"/>
              </a:tabLst>
              <a:defRPr/>
            </a:pPr>
            <a:r>
              <a:rPr kumimoji="0" lang="en-US" sz="3200" i="0" u="none" strike="noStrike" kern="1200" cap="none" spc="10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rPr>
              <a:t>Data </a:t>
            </a:r>
            <a:r>
              <a:rPr lang="en-US" sz="3200" dirty="0">
                <a:latin typeface="+mj-lt"/>
              </a:rPr>
              <a:t>Cataloguing</a:t>
            </a:r>
            <a:r>
              <a:rPr kumimoji="0" lang="en-US" sz="3200" i="0" u="none" strike="noStrike" kern="1200" cap="none" spc="10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rPr>
              <a:t>, Lineage, and Governance Challenges</a:t>
            </a:r>
          </a:p>
        </p:txBody>
      </p:sp>
      <p:cxnSp>
        <p:nvCxnSpPr>
          <p:cNvPr id="34" name="Straight Connector 33">
            <a:extLst>
              <a:ext uri="{FF2B5EF4-FFF2-40B4-BE49-F238E27FC236}">
                <a16:creationId xmlns:a16="http://schemas.microsoft.com/office/drawing/2014/main" id="{D4D54EB5-089B-2837-DBEA-F9FD51E691CF}"/>
              </a:ext>
            </a:extLst>
          </p:cNvPr>
          <p:cNvCxnSpPr>
            <a:cxnSpLocks/>
          </p:cNvCxnSpPr>
          <p:nvPr/>
        </p:nvCxnSpPr>
        <p:spPr>
          <a:xfrm>
            <a:off x="465623" y="2791992"/>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E8EEA8-A1BC-CB80-16F8-3950D1D5CAAB}"/>
              </a:ext>
            </a:extLst>
          </p:cNvPr>
          <p:cNvCxnSpPr/>
          <p:nvPr/>
        </p:nvCxnSpPr>
        <p:spPr>
          <a:xfrm>
            <a:off x="465623" y="3463068"/>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BB03723-22E9-2C91-25F1-5B892F142A02}"/>
              </a:ext>
            </a:extLst>
          </p:cNvPr>
          <p:cNvCxnSpPr/>
          <p:nvPr/>
        </p:nvCxnSpPr>
        <p:spPr>
          <a:xfrm>
            <a:off x="465623" y="4139788"/>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69C17DA-0E69-0B3F-37E8-D8272192522A}"/>
              </a:ext>
            </a:extLst>
          </p:cNvPr>
          <p:cNvCxnSpPr/>
          <p:nvPr/>
        </p:nvCxnSpPr>
        <p:spPr>
          <a:xfrm>
            <a:off x="465623" y="4816508"/>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C0090E9-4005-B065-16D2-54114A6BAC90}"/>
              </a:ext>
            </a:extLst>
          </p:cNvPr>
          <p:cNvCxnSpPr/>
          <p:nvPr/>
        </p:nvCxnSpPr>
        <p:spPr>
          <a:xfrm>
            <a:off x="465623" y="5493228"/>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B143312-F753-AC75-016C-F025F1262A35}"/>
              </a:ext>
            </a:extLst>
          </p:cNvPr>
          <p:cNvCxnSpPr>
            <a:cxnSpLocks/>
          </p:cNvCxnSpPr>
          <p:nvPr/>
        </p:nvCxnSpPr>
        <p:spPr>
          <a:xfrm>
            <a:off x="465623" y="6172875"/>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0" name="object 12">
            <a:extLst>
              <a:ext uri="{FF2B5EF4-FFF2-40B4-BE49-F238E27FC236}">
                <a16:creationId xmlns:a16="http://schemas.microsoft.com/office/drawing/2014/main" id="{C9FA715E-CA1E-36AF-6A82-3C870B511104}"/>
              </a:ext>
            </a:extLst>
          </p:cNvPr>
          <p:cNvSpPr/>
          <p:nvPr/>
        </p:nvSpPr>
        <p:spPr>
          <a:xfrm>
            <a:off x="6041760" y="2842641"/>
            <a:ext cx="651694" cy="3110190"/>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accent6">
              <a:lumMod val="100000"/>
            </a:schemeClr>
          </a:solidFill>
          <a:ln w="9525" cap="flat" cmpd="sng" algn="ctr">
            <a:solidFill>
              <a:schemeClr val="accent6">
                <a:lumMod val="100000"/>
              </a:schemeClr>
            </a:solidFill>
            <a:prstDash val="solid"/>
            <a:round/>
            <a:headEnd type="none" w="med" len="med"/>
            <a:tailEnd type="none" w="med" len="med"/>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41" name="Group 40">
            <a:extLst>
              <a:ext uri="{FF2B5EF4-FFF2-40B4-BE49-F238E27FC236}">
                <a16:creationId xmlns:a16="http://schemas.microsoft.com/office/drawing/2014/main" id="{850A2A1A-E5C3-A827-640E-83B411E70C27}"/>
              </a:ext>
            </a:extLst>
          </p:cNvPr>
          <p:cNvGrpSpPr/>
          <p:nvPr/>
        </p:nvGrpSpPr>
        <p:grpSpPr>
          <a:xfrm>
            <a:off x="6939309" y="2614191"/>
            <a:ext cx="640080" cy="640080"/>
            <a:chOff x="7063734" y="2456471"/>
            <a:chExt cx="731520" cy="731520"/>
          </a:xfrm>
          <a:solidFill>
            <a:schemeClr val="accent1"/>
          </a:solidFill>
        </p:grpSpPr>
        <p:sp>
          <p:nvSpPr>
            <p:cNvPr id="42" name="Freeform 50">
              <a:extLst>
                <a:ext uri="{FF2B5EF4-FFF2-40B4-BE49-F238E27FC236}">
                  <a16:creationId xmlns:a16="http://schemas.microsoft.com/office/drawing/2014/main" id="{055A47B1-5004-E0A3-8338-3B59B153395E}"/>
                </a:ext>
              </a:extLst>
            </p:cNvPr>
            <p:cNvSpPr>
              <a:spLocks noEditPoints="1"/>
            </p:cNvSpPr>
            <p:nvPr/>
          </p:nvSpPr>
          <p:spPr bwMode="auto">
            <a:xfrm>
              <a:off x="7063734" y="2456471"/>
              <a:ext cx="731520" cy="731520"/>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chemeClr val="accent6">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43" name="Graphic 42" descr="Robot with solid fill">
              <a:extLst>
                <a:ext uri="{FF2B5EF4-FFF2-40B4-BE49-F238E27FC236}">
                  <a16:creationId xmlns:a16="http://schemas.microsoft.com/office/drawing/2014/main" id="{C09B40EF-9465-6E92-08D6-6D2B51A04C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55174" y="2547911"/>
              <a:ext cx="548640" cy="548640"/>
            </a:xfrm>
            <a:prstGeom prst="rect">
              <a:avLst/>
            </a:prstGeom>
          </p:spPr>
        </p:pic>
      </p:grpSp>
      <p:grpSp>
        <p:nvGrpSpPr>
          <p:cNvPr id="44" name="Group 43">
            <a:extLst>
              <a:ext uri="{FF2B5EF4-FFF2-40B4-BE49-F238E27FC236}">
                <a16:creationId xmlns:a16="http://schemas.microsoft.com/office/drawing/2014/main" id="{C58B0D3C-B78B-4E7E-20EE-457E661608A5}"/>
              </a:ext>
            </a:extLst>
          </p:cNvPr>
          <p:cNvGrpSpPr/>
          <p:nvPr/>
        </p:nvGrpSpPr>
        <p:grpSpPr>
          <a:xfrm>
            <a:off x="6939309" y="3928315"/>
            <a:ext cx="640080" cy="640080"/>
            <a:chOff x="7094443" y="3705001"/>
            <a:chExt cx="731520" cy="731520"/>
          </a:xfrm>
          <a:solidFill>
            <a:schemeClr val="accent1"/>
          </a:solidFill>
        </p:grpSpPr>
        <p:pic>
          <p:nvPicPr>
            <p:cNvPr id="45" name="Graphic 44" descr="Users with solid fill">
              <a:extLst>
                <a:ext uri="{FF2B5EF4-FFF2-40B4-BE49-F238E27FC236}">
                  <a16:creationId xmlns:a16="http://schemas.microsoft.com/office/drawing/2014/main" id="{574D5FF0-488C-8054-73AA-E0BFF87D40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85883" y="3796441"/>
              <a:ext cx="548640" cy="548640"/>
            </a:xfrm>
            <a:prstGeom prst="rect">
              <a:avLst/>
            </a:prstGeom>
          </p:spPr>
        </p:pic>
        <p:sp>
          <p:nvSpPr>
            <p:cNvPr id="46" name="Freeform 50">
              <a:extLst>
                <a:ext uri="{FF2B5EF4-FFF2-40B4-BE49-F238E27FC236}">
                  <a16:creationId xmlns:a16="http://schemas.microsoft.com/office/drawing/2014/main" id="{20C717B5-B37D-33FE-60F4-CF1D4CE7A8A6}"/>
                </a:ext>
              </a:extLst>
            </p:cNvPr>
            <p:cNvSpPr>
              <a:spLocks noEditPoints="1"/>
            </p:cNvSpPr>
            <p:nvPr/>
          </p:nvSpPr>
          <p:spPr bwMode="auto">
            <a:xfrm>
              <a:off x="7094443" y="3705001"/>
              <a:ext cx="731520" cy="731520"/>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chemeClr val="accent6">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46">
            <a:extLst>
              <a:ext uri="{FF2B5EF4-FFF2-40B4-BE49-F238E27FC236}">
                <a16:creationId xmlns:a16="http://schemas.microsoft.com/office/drawing/2014/main" id="{583D3F4E-F630-2856-A1D4-C7E664B71FA0}"/>
              </a:ext>
            </a:extLst>
          </p:cNvPr>
          <p:cNvGrpSpPr/>
          <p:nvPr/>
        </p:nvGrpSpPr>
        <p:grpSpPr>
          <a:xfrm>
            <a:off x="6939309" y="5021032"/>
            <a:ext cx="640080" cy="640080"/>
            <a:chOff x="7083020" y="4759931"/>
            <a:chExt cx="731520" cy="731520"/>
          </a:xfrm>
          <a:solidFill>
            <a:schemeClr val="accent1"/>
          </a:solidFill>
        </p:grpSpPr>
        <p:sp>
          <p:nvSpPr>
            <p:cNvPr id="48" name="Freeform 50">
              <a:extLst>
                <a:ext uri="{FF2B5EF4-FFF2-40B4-BE49-F238E27FC236}">
                  <a16:creationId xmlns:a16="http://schemas.microsoft.com/office/drawing/2014/main" id="{D938951F-B65D-7AF8-8C9D-42F8E9A8F6F6}"/>
                </a:ext>
              </a:extLst>
            </p:cNvPr>
            <p:cNvSpPr>
              <a:spLocks noEditPoints="1"/>
            </p:cNvSpPr>
            <p:nvPr/>
          </p:nvSpPr>
          <p:spPr bwMode="auto">
            <a:xfrm>
              <a:off x="7083020" y="4759931"/>
              <a:ext cx="731520" cy="731520"/>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chemeClr val="accent6">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Diploma roll with solid fill">
              <a:extLst>
                <a:ext uri="{FF2B5EF4-FFF2-40B4-BE49-F238E27FC236}">
                  <a16:creationId xmlns:a16="http://schemas.microsoft.com/office/drawing/2014/main" id="{7F3FA1FA-D80E-513E-D867-63A786BE4D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1839" y="4878246"/>
              <a:ext cx="553882" cy="553882"/>
            </a:xfrm>
            <a:prstGeom prst="rect">
              <a:avLst/>
            </a:prstGeom>
          </p:spPr>
        </p:pic>
      </p:grpSp>
      <p:sp>
        <p:nvSpPr>
          <p:cNvPr id="50" name="Rectangle 49">
            <a:extLst>
              <a:ext uri="{FF2B5EF4-FFF2-40B4-BE49-F238E27FC236}">
                <a16:creationId xmlns:a16="http://schemas.microsoft.com/office/drawing/2014/main" id="{A5CA3A36-82BB-36D1-C4CC-6D22A404BA16}"/>
              </a:ext>
            </a:extLst>
          </p:cNvPr>
          <p:cNvSpPr/>
          <p:nvPr/>
        </p:nvSpPr>
        <p:spPr bwMode="gray">
          <a:xfrm>
            <a:off x="400692" y="6421348"/>
            <a:ext cx="1366463" cy="32877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8" descr="A clear, concise title that captures the main topic of the slide. Keep it in 2 words, displayed in **bold**, capital letters">
            <a:extLst>
              <a:ext uri="{FF2B5EF4-FFF2-40B4-BE49-F238E27FC236}">
                <a16:creationId xmlns:a16="http://schemas.microsoft.com/office/drawing/2014/main" id="{3E67FFA0-6F26-9664-7CA2-A3ACA34040BB}"/>
              </a:ext>
            </a:extLst>
          </p:cNvPr>
          <p:cNvSpPr txBox="1">
            <a:spLocks/>
          </p:cNvSpPr>
          <p:nvPr/>
        </p:nvSpPr>
        <p:spPr>
          <a:xfrm>
            <a:off x="4737905" y="1330414"/>
            <a:ext cx="3055760" cy="239598"/>
          </a:xfrm>
          <a:prstGeom prst="rect">
            <a:avLst/>
          </a:prstGeom>
        </p:spPr>
        <p:txBody>
          <a:bodyPr lIns="91440" tIns="45720" rIns="91440" bIns="45720" anchor="t">
            <a:noAutofit/>
          </a:bodyPr>
          <a:lstStyle>
            <a:lvl1pPr marL="0" indent="0" algn="l" defTabSz="914400" rtl="0" eaLnBrk="1" latinLnBrk="0" hangingPunct="1">
              <a:lnSpc>
                <a:spcPct val="80000"/>
              </a:lnSpc>
              <a:spcBef>
                <a:spcPts val="0"/>
              </a:spcBef>
              <a:spcAft>
                <a:spcPts val="400"/>
              </a:spcAft>
              <a:buSzPct val="100000"/>
              <a:buFont typeface="Arial" panose="020B0604020202020204" pitchFamily="34" charset="0"/>
              <a:buNone/>
              <a:defRPr sz="1600" b="1" i="1"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sz="1800" i="0" dirty="0">
                <a:latin typeface="Open Sans Bold"/>
              </a:rPr>
              <a:t>GEN</a:t>
            </a:r>
            <a:r>
              <a:rPr lang="en-US" sz="1800" i="0" dirty="0">
                <a:latin typeface="Open Sans Bold"/>
              </a:rPr>
              <a:t>ERATIVE </a:t>
            </a:r>
            <a:r>
              <a:rPr sz="1800" i="0" dirty="0">
                <a:latin typeface="Open Sans Bold"/>
              </a:rPr>
              <a:t>AI</a:t>
            </a:r>
            <a:endParaRPr lang="en-US" sz="1800" i="0" dirty="0">
              <a:latin typeface="Open Sans ExtraBold"/>
              <a:ea typeface="Open Sans ExtraBold"/>
              <a:cs typeface="Open Sans ExtraBold"/>
            </a:endParaRPr>
          </a:p>
        </p:txBody>
      </p:sp>
      <p:sp>
        <p:nvSpPr>
          <p:cNvPr id="3" name="Text Placeholder 8" descr="A clear, concise title that captures the main topic of the slide. Keep it in 2 words, displayed in **bold**, capital letters">
            <a:extLst>
              <a:ext uri="{FF2B5EF4-FFF2-40B4-BE49-F238E27FC236}">
                <a16:creationId xmlns:a16="http://schemas.microsoft.com/office/drawing/2014/main" id="{D346398F-DB54-51FE-3768-0F41C5AAAAEE}"/>
              </a:ext>
            </a:extLst>
          </p:cNvPr>
          <p:cNvSpPr txBox="1">
            <a:spLocks/>
          </p:cNvSpPr>
          <p:nvPr/>
        </p:nvSpPr>
        <p:spPr>
          <a:xfrm>
            <a:off x="8289929" y="1325098"/>
            <a:ext cx="3055760" cy="239598"/>
          </a:xfrm>
          <a:prstGeom prst="rect">
            <a:avLst/>
          </a:prstGeom>
        </p:spPr>
        <p:txBody>
          <a:bodyPr lIns="91440" tIns="45720" rIns="91440" bIns="45720" anchor="t">
            <a:noAutofit/>
          </a:bodyPr>
          <a:lstStyle>
            <a:lvl1pPr marL="0" indent="0" algn="l" defTabSz="914400" rtl="0" eaLnBrk="1" latinLnBrk="0" hangingPunct="1">
              <a:lnSpc>
                <a:spcPct val="80000"/>
              </a:lnSpc>
              <a:spcBef>
                <a:spcPts val="0"/>
              </a:spcBef>
              <a:spcAft>
                <a:spcPts val="400"/>
              </a:spcAft>
              <a:buSzPct val="100000"/>
              <a:buFont typeface="Arial" panose="020B0604020202020204" pitchFamily="34" charset="0"/>
              <a:buNone/>
              <a:defRPr sz="1600" b="1" i="1" kern="120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sz="1800" i="0" dirty="0">
                <a:latin typeface="Open Sans Bold"/>
              </a:rPr>
              <a:t>AGENTIC AI</a:t>
            </a:r>
            <a:endParaRPr lang="en-US" sz="1800" i="0" dirty="0">
              <a:latin typeface="Open Sans ExtraBold"/>
              <a:ea typeface="Open Sans ExtraBold"/>
              <a:cs typeface="Open Sans ExtraBold"/>
            </a:endParaRPr>
          </a:p>
        </p:txBody>
      </p:sp>
      <p:pic>
        <p:nvPicPr>
          <p:cNvPr id="4" name="Picture 3" descr="image.jpeg"/>
          <p:cNvPicPr>
            <a:picLocks noChangeAspect="1"/>
          </p:cNvPicPr>
          <p:nvPr/>
        </p:nvPicPr>
        <p:blipFill>
          <a:blip r:embed="rId2"/>
          <a:stretch>
            <a:fillRect/>
          </a:stretch>
        </p:blipFill>
        <p:spPr>
          <a:xfrm rot="5400000">
            <a:off x="-1371800" y="1371800"/>
            <a:ext cx="6857998" cy="4114400"/>
          </a:xfrm>
          <a:prstGeom prst="rect">
            <a:avLst/>
          </a:prstGeom>
        </p:spPr>
      </p:pic>
      <p:sp>
        <p:nvSpPr>
          <p:cNvPr id="10" name="Text Placeholder 2" descr="Text content for first section:&#10;        - Must be a paragraph between 80-100 words&#10;        - Must highlight key concepts in **bold** (2-3 terms maximum)&#10;        - Must be complete, clear, and impactful&#10;        - Can use list or bullet points to be more concise&#10;                -The content must differ from the text in other boxes&#10;        - Should connect logically to other text boxes ">
            <a:extLst>
              <a:ext uri="{FF2B5EF4-FFF2-40B4-BE49-F238E27FC236}">
                <a16:creationId xmlns:a16="http://schemas.microsoft.com/office/drawing/2014/main" id="{5D292E1B-8161-4CAD-EDF7-EB69F882014A}"/>
              </a:ext>
            </a:extLst>
          </p:cNvPr>
          <p:cNvSpPr txBox="1">
            <a:spLocks/>
          </p:cNvSpPr>
          <p:nvPr/>
        </p:nvSpPr>
        <p:spPr>
          <a:xfrm>
            <a:off x="4737905" y="1682470"/>
            <a:ext cx="3055760" cy="4548209"/>
          </a:xfrm>
          <a:prstGeom prst="rect">
            <a:avLst/>
          </a:prstGeom>
        </p:spPr>
        <p:txBody>
          <a:bodyPr lIns="91440" tIns="45720" rIns="91440" bIns="45720" anchor="t">
            <a:normAutofit/>
          </a:bodyPr>
          <a:lstStyle>
            <a:lvl1pPr marL="0" indent="0" algn="l" defTabSz="914400" rtl="0" eaLnBrk="1" latinLnBrk="0" hangingPunct="1">
              <a:lnSpc>
                <a:spcPct val="120000"/>
              </a:lnSpc>
              <a:spcBef>
                <a:spcPts val="0"/>
              </a:spcBef>
              <a:spcAft>
                <a:spcPts val="8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30000"/>
              </a:lnSpc>
            </a:pPr>
            <a:r>
              <a:rPr lang="en-US" sz="1100" dirty="0">
                <a:latin typeface="Open Sans Light"/>
              </a:rPr>
              <a:t>Traditional Generative AI and Large Language Models (LLMs) are </a:t>
            </a:r>
            <a:r>
              <a:rPr lang="en-US" sz="1100" b="1" dirty="0">
                <a:latin typeface="Open Sans Light"/>
              </a:rPr>
              <a:t>primarily focused on generating and interpreting content</a:t>
            </a:r>
            <a:r>
              <a:rPr lang="en-US" sz="1100" dirty="0">
                <a:latin typeface="Open Sans Light"/>
              </a:rPr>
              <a:t>. They excel in tasks such as writing texts, summarizing documents, translating languages, and answering questions based on the context provided. These models respond to specific prompts and perform a single, defined task. Their functionality is reactive; They wait for an input from the user and then produce an output.</a:t>
            </a:r>
            <a:endParaRPr sz="1100" dirty="0">
              <a:latin typeface="Open Sans Light"/>
            </a:endParaRPr>
          </a:p>
        </p:txBody>
      </p:sp>
      <p:sp>
        <p:nvSpPr>
          <p:cNvPr id="11" name="Text Placeholder 4" descr="Text content for second section:&#10;        - Must be a paragraph between 80-100 words&#10;        - Must highlight key concepts in **bold** (2-3 terms maximum)&#10;        - Must be complete, clear, and impactful&#10;        - Can use list or bullet points to be more concise&#10;                -The content must differ from the text in other boxes&#10;        - Should connect logically to other text boxes ">
            <a:extLst>
              <a:ext uri="{FF2B5EF4-FFF2-40B4-BE49-F238E27FC236}">
                <a16:creationId xmlns:a16="http://schemas.microsoft.com/office/drawing/2014/main" id="{263DDB41-50B3-61FC-1E17-8C640862384C}"/>
              </a:ext>
            </a:extLst>
          </p:cNvPr>
          <p:cNvSpPr txBox="1">
            <a:spLocks/>
          </p:cNvSpPr>
          <p:nvPr/>
        </p:nvSpPr>
        <p:spPr>
          <a:xfrm>
            <a:off x="8289929" y="1677154"/>
            <a:ext cx="3055760" cy="4548209"/>
          </a:xfrm>
          <a:prstGeom prst="rect">
            <a:avLst/>
          </a:prstGeom>
        </p:spPr>
        <p:txBody>
          <a:bodyPr>
            <a:normAutofit/>
          </a:bodyPr>
          <a:lstStyle>
            <a:lvl1pPr marL="0" indent="0" algn="l" defTabSz="914400" rtl="0" eaLnBrk="1" latinLnBrk="0" hangingPunct="1">
              <a:lnSpc>
                <a:spcPct val="120000"/>
              </a:lnSpc>
              <a:spcBef>
                <a:spcPts val="0"/>
              </a:spcBef>
              <a:spcAft>
                <a:spcPts val="8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8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8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8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8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30000"/>
              </a:lnSpc>
            </a:pPr>
            <a:r>
              <a:rPr lang="en-US" sz="1100" dirty="0">
                <a:latin typeface="Open Sans Light"/>
              </a:rPr>
              <a:t>An AI agent can </a:t>
            </a:r>
            <a:r>
              <a:rPr lang="en-US" sz="1100" b="1" dirty="0">
                <a:latin typeface="Open Sans Light"/>
              </a:rPr>
              <a:t>act autonomously to achieve a goal</a:t>
            </a:r>
            <a:r>
              <a:rPr lang="en-US" sz="1100" dirty="0">
                <a:latin typeface="Open Sans Light"/>
              </a:rPr>
              <a:t>. This includes creating plans, calling external tools (such as APIs or databases), performing multi-step tasks, and learning from the results. Characteristic of Agentic AI is the use of a memory to retain context over longer interactions and the ability to make decisions independently. Instead of just responding, an agent can proactively initiate a series of actions to solve a complex problem, such as fully managing a data quality process.</a:t>
            </a:r>
            <a:endParaRPr sz="1100" dirty="0">
              <a:latin typeface="Open Sans Light"/>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4657A989-153C-443D-8BB2-5456DD860253}"/>
              </a:ext>
            </a:extLst>
          </p:cNvPr>
          <p:cNvSpPr txBox="1">
            <a:spLocks/>
          </p:cNvSpPr>
          <p:nvPr/>
        </p:nvSpPr>
        <p:spPr bwMode="gray">
          <a:xfrm>
            <a:off x="463295" y="345992"/>
            <a:ext cx="114300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ere does AI intersect with </a:t>
            </a:r>
            <a:r>
              <a:rPr lang="en-US" sz="240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anagement</a:t>
            </a: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 Placeholder 10">
            <a:extLst>
              <a:ext uri="{FF2B5EF4-FFF2-40B4-BE49-F238E27FC236}">
                <a16:creationId xmlns:a16="http://schemas.microsoft.com/office/drawing/2014/main" id="{22829996-F884-AEB4-5688-F82296E1AB7C}"/>
              </a:ext>
            </a:extLst>
          </p:cNvPr>
          <p:cNvSpPr txBox="1">
            <a:spLocks/>
          </p:cNvSpPr>
          <p:nvPr/>
        </p:nvSpPr>
        <p:spPr>
          <a:xfrm>
            <a:off x="420370" y="651599"/>
            <a:ext cx="11188700" cy="757255"/>
          </a:xfrm>
          <a:prstGeom prst="rect">
            <a:avLst/>
          </a:prstGeom>
        </p:spPr>
        <p:txBody>
          <a:bodyPr/>
          <a:lstStyle>
            <a:lvl1pPr marL="0" indent="0" algn="l" defTabSz="685788"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3" indent="-104773" algn="l" defTabSz="685788"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596" indent="-104773" algn="l" defTabSz="685788"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19" indent="-104773" algn="l" defTabSz="685788"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42" indent="-104773" algn="l" defTabSz="598874"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593" indent="-132298" algn="l" defTabSz="685788"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593" indent="-132298" algn="l" defTabSz="685788"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593" indent="-132298" algn="l" defTabSz="685788"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593" indent="-132298" algn="l" defTabSz="685788"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788" rtl="0" eaLnBrk="1" fontAlgn="auto" latinLnBrk="0" hangingPunct="1">
              <a:lnSpc>
                <a:spcPct val="100000"/>
              </a:lnSpc>
              <a:spcBef>
                <a:spcPts val="0"/>
              </a:spcBef>
              <a:spcAft>
                <a:spcPts val="75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integration of AI and Gen AI into data cataloging, lineage, and governance processes offers numerous advantages, including improved accuracy, efficiency, transparency, and compliance. By leveraging these technologies, organizations can enhance their data management practices, making it easier to discover, understand, and govern their data assets effectively.</a:t>
            </a:r>
          </a:p>
        </p:txBody>
      </p:sp>
      <p:grpSp>
        <p:nvGrpSpPr>
          <p:cNvPr id="45" name="Group 44">
            <a:extLst>
              <a:ext uri="{FF2B5EF4-FFF2-40B4-BE49-F238E27FC236}">
                <a16:creationId xmlns:a16="http://schemas.microsoft.com/office/drawing/2014/main" id="{F2A54700-BCFB-173A-2D15-CC50EA76A869}"/>
              </a:ext>
            </a:extLst>
          </p:cNvPr>
          <p:cNvGrpSpPr/>
          <p:nvPr/>
        </p:nvGrpSpPr>
        <p:grpSpPr>
          <a:xfrm>
            <a:off x="2617839" y="1943759"/>
            <a:ext cx="2041864" cy="2991096"/>
            <a:chOff x="2562526" y="1943759"/>
            <a:chExt cx="2041864" cy="2991096"/>
          </a:xfrm>
        </p:grpSpPr>
        <p:sp>
          <p:nvSpPr>
            <p:cNvPr id="4" name="TextBox 3">
              <a:extLst>
                <a:ext uri="{FF2B5EF4-FFF2-40B4-BE49-F238E27FC236}">
                  <a16:creationId xmlns:a16="http://schemas.microsoft.com/office/drawing/2014/main" id="{39C8E28D-96EB-80B7-4583-3AF265DD5266}"/>
                </a:ext>
              </a:extLst>
            </p:cNvPr>
            <p:cNvSpPr txBox="1"/>
            <p:nvPr/>
          </p:nvSpPr>
          <p:spPr>
            <a:xfrm>
              <a:off x="2562526" y="3196208"/>
              <a:ext cx="2041864" cy="369332"/>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Data</a:t>
              </a:r>
              <a:r>
                <a:rPr lang="en-US" dirty="0">
                  <a:latin typeface="Open Sans" panose="020B0606030504020204" pitchFamily="34" charset="0"/>
                  <a:ea typeface="Open Sans" panose="020B0606030504020204" pitchFamily="34" charset="0"/>
                  <a:cs typeface="Open Sans" panose="020B0606030504020204" pitchFamily="34" charset="0"/>
                </a:rPr>
                <a:t> </a:t>
              </a:r>
              <a:r>
                <a:rPr lang="en-US" b="1" dirty="0">
                  <a:latin typeface="Open Sans" panose="020B0606030504020204" pitchFamily="34" charset="0"/>
                  <a:ea typeface="Open Sans" panose="020B0606030504020204" pitchFamily="34" charset="0"/>
                  <a:cs typeface="Open Sans" panose="020B0606030504020204" pitchFamily="34" charset="0"/>
                </a:rPr>
                <a:t>Quality</a:t>
              </a:r>
            </a:p>
          </p:txBody>
        </p:sp>
        <p:sp>
          <p:nvSpPr>
            <p:cNvPr id="10" name="TextBox 9">
              <a:extLst>
                <a:ext uri="{FF2B5EF4-FFF2-40B4-BE49-F238E27FC236}">
                  <a16:creationId xmlns:a16="http://schemas.microsoft.com/office/drawing/2014/main" id="{D43C51B8-10AA-ECC5-6534-A205D6F88F65}"/>
                </a:ext>
              </a:extLst>
            </p:cNvPr>
            <p:cNvSpPr txBox="1"/>
            <p:nvPr/>
          </p:nvSpPr>
          <p:spPr>
            <a:xfrm>
              <a:off x="2689500" y="3734526"/>
              <a:ext cx="1787917" cy="1200329"/>
            </a:xfrm>
            <a:prstGeom prst="rect">
              <a:avLst/>
            </a:prstGeom>
            <a:noFill/>
          </p:spPr>
          <p:txBody>
            <a:bodyPr wrap="square">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Ensures data accuracy, consistency, and reliability, which are crucial for effective decision-making and operational efficiency. </a:t>
              </a:r>
            </a:p>
          </p:txBody>
        </p:sp>
        <p:grpSp>
          <p:nvGrpSpPr>
            <p:cNvPr id="14" name="Graphic 4">
              <a:extLst>
                <a:ext uri="{FF2B5EF4-FFF2-40B4-BE49-F238E27FC236}">
                  <a16:creationId xmlns:a16="http://schemas.microsoft.com/office/drawing/2014/main" id="{F304C9B1-3675-A328-EAD2-8AAB566AB519}"/>
                </a:ext>
              </a:extLst>
            </p:cNvPr>
            <p:cNvGrpSpPr>
              <a:grpSpLocks noChangeAspect="1"/>
            </p:cNvGrpSpPr>
            <p:nvPr/>
          </p:nvGrpSpPr>
          <p:grpSpPr>
            <a:xfrm>
              <a:off x="3121823" y="1943759"/>
              <a:ext cx="923268" cy="922414"/>
              <a:chOff x="905454" y="4308712"/>
              <a:chExt cx="362309" cy="361971"/>
            </a:xfrm>
            <a:solidFill>
              <a:schemeClr val="accent1"/>
            </a:solidFill>
          </p:grpSpPr>
          <p:sp>
            <p:nvSpPr>
              <p:cNvPr id="15" name="Graphic 4">
                <a:extLst>
                  <a:ext uri="{FF2B5EF4-FFF2-40B4-BE49-F238E27FC236}">
                    <a16:creationId xmlns:a16="http://schemas.microsoft.com/office/drawing/2014/main" id="{80A31979-77B3-A375-9D28-B0B26EA08ECC}"/>
                  </a:ext>
                </a:extLst>
              </p:cNvPr>
              <p:cNvSpPr/>
              <p:nvPr/>
            </p:nvSpPr>
            <p:spPr>
              <a:xfrm>
                <a:off x="983411" y="4499593"/>
                <a:ext cx="20447" cy="70223"/>
              </a:xfrm>
              <a:custGeom>
                <a:avLst/>
                <a:gdLst>
                  <a:gd name="connsiteX0" fmla="*/ 0 w 20447"/>
                  <a:gd name="connsiteY0" fmla="*/ 0 h 70223"/>
                  <a:gd name="connsiteX1" fmla="*/ 20448 w 20447"/>
                  <a:gd name="connsiteY1" fmla="*/ 0 h 70223"/>
                  <a:gd name="connsiteX2" fmla="*/ 20448 w 20447"/>
                  <a:gd name="connsiteY2" fmla="*/ 70224 h 70223"/>
                  <a:gd name="connsiteX3" fmla="*/ 0 w 20447"/>
                  <a:gd name="connsiteY3" fmla="*/ 70224 h 70223"/>
                </a:gdLst>
                <a:ahLst/>
                <a:cxnLst>
                  <a:cxn ang="0">
                    <a:pos x="connsiteX0" y="connsiteY0"/>
                  </a:cxn>
                  <a:cxn ang="0">
                    <a:pos x="connsiteX1" y="connsiteY1"/>
                  </a:cxn>
                  <a:cxn ang="0">
                    <a:pos x="connsiteX2" y="connsiteY2"/>
                  </a:cxn>
                  <a:cxn ang="0">
                    <a:pos x="connsiteX3" y="connsiteY3"/>
                  </a:cxn>
                </a:cxnLst>
                <a:rect l="l" t="t" r="r" b="b"/>
                <a:pathLst>
                  <a:path w="20447" h="70223">
                    <a:moveTo>
                      <a:pt x="0" y="0"/>
                    </a:moveTo>
                    <a:lnTo>
                      <a:pt x="20448" y="0"/>
                    </a:lnTo>
                    <a:lnTo>
                      <a:pt x="20448" y="70224"/>
                    </a:lnTo>
                    <a:lnTo>
                      <a:pt x="0" y="70224"/>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6" name="Graphic 4">
                <a:extLst>
                  <a:ext uri="{FF2B5EF4-FFF2-40B4-BE49-F238E27FC236}">
                    <a16:creationId xmlns:a16="http://schemas.microsoft.com/office/drawing/2014/main" id="{2D8C218D-6760-9061-B63F-AA4E51F1EDFC}"/>
                  </a:ext>
                </a:extLst>
              </p:cNvPr>
              <p:cNvSpPr/>
              <p:nvPr/>
            </p:nvSpPr>
            <p:spPr>
              <a:xfrm>
                <a:off x="1016638" y="4466396"/>
                <a:ext cx="45368" cy="20428"/>
              </a:xfrm>
              <a:custGeom>
                <a:avLst/>
                <a:gdLst>
                  <a:gd name="connsiteX0" fmla="*/ 0 w 45368"/>
                  <a:gd name="connsiteY0" fmla="*/ 0 h 20428"/>
                  <a:gd name="connsiteX1" fmla="*/ 45369 w 45368"/>
                  <a:gd name="connsiteY1" fmla="*/ 0 h 20428"/>
                  <a:gd name="connsiteX2" fmla="*/ 45369 w 45368"/>
                  <a:gd name="connsiteY2" fmla="*/ 20429 h 20428"/>
                  <a:gd name="connsiteX3" fmla="*/ 0 w 45368"/>
                  <a:gd name="connsiteY3" fmla="*/ 20429 h 20428"/>
                </a:gdLst>
                <a:ahLst/>
                <a:cxnLst>
                  <a:cxn ang="0">
                    <a:pos x="connsiteX0" y="connsiteY0"/>
                  </a:cxn>
                  <a:cxn ang="0">
                    <a:pos x="connsiteX1" y="connsiteY1"/>
                  </a:cxn>
                  <a:cxn ang="0">
                    <a:pos x="connsiteX2" y="connsiteY2"/>
                  </a:cxn>
                  <a:cxn ang="0">
                    <a:pos x="connsiteX3" y="connsiteY3"/>
                  </a:cxn>
                </a:cxnLst>
                <a:rect l="l" t="t" r="r" b="b"/>
                <a:pathLst>
                  <a:path w="45368" h="20428">
                    <a:moveTo>
                      <a:pt x="0" y="0"/>
                    </a:moveTo>
                    <a:lnTo>
                      <a:pt x="45369" y="0"/>
                    </a:lnTo>
                    <a:lnTo>
                      <a:pt x="45369" y="20429"/>
                    </a:lnTo>
                    <a:lnTo>
                      <a:pt x="0" y="20429"/>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7" name="Graphic 4">
                <a:extLst>
                  <a:ext uri="{FF2B5EF4-FFF2-40B4-BE49-F238E27FC236}">
                    <a16:creationId xmlns:a16="http://schemas.microsoft.com/office/drawing/2014/main" id="{7AA3DAAE-99F8-0AAA-206D-5F8CCC48FB24}"/>
                  </a:ext>
                </a:extLst>
              </p:cNvPr>
              <p:cNvSpPr/>
              <p:nvPr/>
            </p:nvSpPr>
            <p:spPr>
              <a:xfrm>
                <a:off x="1016638" y="4499593"/>
                <a:ext cx="45368" cy="70223"/>
              </a:xfrm>
              <a:custGeom>
                <a:avLst/>
                <a:gdLst>
                  <a:gd name="connsiteX0" fmla="*/ 0 w 45368"/>
                  <a:gd name="connsiteY0" fmla="*/ 0 h 70223"/>
                  <a:gd name="connsiteX1" fmla="*/ 45369 w 45368"/>
                  <a:gd name="connsiteY1" fmla="*/ 0 h 70223"/>
                  <a:gd name="connsiteX2" fmla="*/ 45369 w 45368"/>
                  <a:gd name="connsiteY2" fmla="*/ 70224 h 70223"/>
                  <a:gd name="connsiteX3" fmla="*/ 0 w 45368"/>
                  <a:gd name="connsiteY3" fmla="*/ 70224 h 70223"/>
                </a:gdLst>
                <a:ahLst/>
                <a:cxnLst>
                  <a:cxn ang="0">
                    <a:pos x="connsiteX0" y="connsiteY0"/>
                  </a:cxn>
                  <a:cxn ang="0">
                    <a:pos x="connsiteX1" y="connsiteY1"/>
                  </a:cxn>
                  <a:cxn ang="0">
                    <a:pos x="connsiteX2" y="connsiteY2"/>
                  </a:cxn>
                  <a:cxn ang="0">
                    <a:pos x="connsiteX3" y="connsiteY3"/>
                  </a:cxn>
                </a:cxnLst>
                <a:rect l="l" t="t" r="r" b="b"/>
                <a:pathLst>
                  <a:path w="45368" h="70223">
                    <a:moveTo>
                      <a:pt x="0" y="0"/>
                    </a:moveTo>
                    <a:lnTo>
                      <a:pt x="45369" y="0"/>
                    </a:lnTo>
                    <a:lnTo>
                      <a:pt x="45369" y="70224"/>
                    </a:lnTo>
                    <a:lnTo>
                      <a:pt x="0" y="70224"/>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8" name="Graphic 4">
                <a:extLst>
                  <a:ext uri="{FF2B5EF4-FFF2-40B4-BE49-F238E27FC236}">
                    <a16:creationId xmlns:a16="http://schemas.microsoft.com/office/drawing/2014/main" id="{53135A1D-0330-80A3-3E5B-F399A9485A9C}"/>
                  </a:ext>
                </a:extLst>
              </p:cNvPr>
              <p:cNvSpPr/>
              <p:nvPr/>
            </p:nvSpPr>
            <p:spPr>
              <a:xfrm>
                <a:off x="1074148" y="4499593"/>
                <a:ext cx="20447" cy="70223"/>
              </a:xfrm>
              <a:custGeom>
                <a:avLst/>
                <a:gdLst>
                  <a:gd name="connsiteX0" fmla="*/ 0 w 20447"/>
                  <a:gd name="connsiteY0" fmla="*/ 0 h 70223"/>
                  <a:gd name="connsiteX1" fmla="*/ 20448 w 20447"/>
                  <a:gd name="connsiteY1" fmla="*/ 0 h 70223"/>
                  <a:gd name="connsiteX2" fmla="*/ 20448 w 20447"/>
                  <a:gd name="connsiteY2" fmla="*/ 70224 h 70223"/>
                  <a:gd name="connsiteX3" fmla="*/ 0 w 20447"/>
                  <a:gd name="connsiteY3" fmla="*/ 70224 h 70223"/>
                </a:gdLst>
                <a:ahLst/>
                <a:cxnLst>
                  <a:cxn ang="0">
                    <a:pos x="connsiteX0" y="connsiteY0"/>
                  </a:cxn>
                  <a:cxn ang="0">
                    <a:pos x="connsiteX1" y="connsiteY1"/>
                  </a:cxn>
                  <a:cxn ang="0">
                    <a:pos x="connsiteX2" y="connsiteY2"/>
                  </a:cxn>
                  <a:cxn ang="0">
                    <a:pos x="connsiteX3" y="connsiteY3"/>
                  </a:cxn>
                </a:cxnLst>
                <a:rect l="l" t="t" r="r" b="b"/>
                <a:pathLst>
                  <a:path w="20447" h="70223">
                    <a:moveTo>
                      <a:pt x="0" y="0"/>
                    </a:moveTo>
                    <a:lnTo>
                      <a:pt x="20448" y="0"/>
                    </a:lnTo>
                    <a:lnTo>
                      <a:pt x="20448" y="70224"/>
                    </a:lnTo>
                    <a:lnTo>
                      <a:pt x="0" y="70224"/>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9" name="Graphic 4">
                <a:extLst>
                  <a:ext uri="{FF2B5EF4-FFF2-40B4-BE49-F238E27FC236}">
                    <a16:creationId xmlns:a16="http://schemas.microsoft.com/office/drawing/2014/main" id="{611E4131-80DD-0DD7-93ED-4C3B273EDAE9}"/>
                  </a:ext>
                </a:extLst>
              </p:cNvPr>
              <p:cNvSpPr/>
              <p:nvPr/>
            </p:nvSpPr>
            <p:spPr>
              <a:xfrm>
                <a:off x="1104820" y="4396811"/>
                <a:ext cx="65177" cy="65116"/>
              </a:xfrm>
              <a:custGeom>
                <a:avLst/>
                <a:gdLst>
                  <a:gd name="connsiteX0" fmla="*/ 55593 w 65177"/>
                  <a:gd name="connsiteY0" fmla="*/ 9576 h 65116"/>
                  <a:gd name="connsiteX1" fmla="*/ 9585 w 65177"/>
                  <a:gd name="connsiteY1" fmla="*/ 9576 h 65116"/>
                  <a:gd name="connsiteX2" fmla="*/ 9585 w 65177"/>
                  <a:gd name="connsiteY2" fmla="*/ 55541 h 65116"/>
                  <a:gd name="connsiteX3" fmla="*/ 55593 w 65177"/>
                  <a:gd name="connsiteY3" fmla="*/ 55541 h 65116"/>
                  <a:gd name="connsiteX4" fmla="*/ 55593 w 65177"/>
                  <a:gd name="connsiteY4" fmla="*/ 55541 h 65116"/>
                  <a:gd name="connsiteX5" fmla="*/ 55593 w 65177"/>
                  <a:gd name="connsiteY5" fmla="*/ 9576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177" h="65116">
                    <a:moveTo>
                      <a:pt x="55593" y="9576"/>
                    </a:moveTo>
                    <a:cubicBezTo>
                      <a:pt x="42813" y="-3192"/>
                      <a:pt x="22365" y="-3192"/>
                      <a:pt x="9585" y="9576"/>
                    </a:cubicBezTo>
                    <a:cubicBezTo>
                      <a:pt x="-3195" y="22344"/>
                      <a:pt x="-3195" y="42773"/>
                      <a:pt x="9585" y="55541"/>
                    </a:cubicBezTo>
                    <a:cubicBezTo>
                      <a:pt x="22365" y="68309"/>
                      <a:pt x="42813" y="68309"/>
                      <a:pt x="55593" y="55541"/>
                    </a:cubicBezTo>
                    <a:cubicBezTo>
                      <a:pt x="55593" y="55541"/>
                      <a:pt x="55593" y="55541"/>
                      <a:pt x="55593" y="55541"/>
                    </a:cubicBezTo>
                    <a:cubicBezTo>
                      <a:pt x="68372" y="42773"/>
                      <a:pt x="68372" y="22344"/>
                      <a:pt x="55593" y="9576"/>
                    </a:cubicBez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0" name="Graphic 4">
                <a:extLst>
                  <a:ext uri="{FF2B5EF4-FFF2-40B4-BE49-F238E27FC236}">
                    <a16:creationId xmlns:a16="http://schemas.microsoft.com/office/drawing/2014/main" id="{5103E7E0-115A-3AE9-D33A-D13237B272E3}"/>
                  </a:ext>
                </a:extLst>
              </p:cNvPr>
              <p:cNvSpPr/>
              <p:nvPr/>
            </p:nvSpPr>
            <p:spPr>
              <a:xfrm>
                <a:off x="905454" y="4308712"/>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01922 w 362309"/>
                  <a:gd name="connsiteY6" fmla="*/ 266850 h 361971"/>
                  <a:gd name="connsiteX7" fmla="*/ 195532 w 362309"/>
                  <a:gd name="connsiteY7" fmla="*/ 273234 h 361971"/>
                  <a:gd name="connsiteX8" fmla="*/ 71567 w 362309"/>
                  <a:gd name="connsiteY8" fmla="*/ 273234 h 361971"/>
                  <a:gd name="connsiteX9" fmla="*/ 65177 w 362309"/>
                  <a:gd name="connsiteY9" fmla="*/ 266850 h 361971"/>
                  <a:gd name="connsiteX10" fmla="*/ 65177 w 362309"/>
                  <a:gd name="connsiteY10" fmla="*/ 183859 h 361971"/>
                  <a:gd name="connsiteX11" fmla="*/ 71567 w 362309"/>
                  <a:gd name="connsiteY11" fmla="*/ 177475 h 361971"/>
                  <a:gd name="connsiteX12" fmla="*/ 98405 w 362309"/>
                  <a:gd name="connsiteY12" fmla="*/ 177475 h 361971"/>
                  <a:gd name="connsiteX13" fmla="*/ 98405 w 362309"/>
                  <a:gd name="connsiteY13" fmla="*/ 151300 h 361971"/>
                  <a:gd name="connsiteX14" fmla="*/ 104795 w 362309"/>
                  <a:gd name="connsiteY14" fmla="*/ 144916 h 361971"/>
                  <a:gd name="connsiteX15" fmla="*/ 162943 w 362309"/>
                  <a:gd name="connsiteY15" fmla="*/ 144916 h 361971"/>
                  <a:gd name="connsiteX16" fmla="*/ 169333 w 362309"/>
                  <a:gd name="connsiteY16" fmla="*/ 151300 h 361971"/>
                  <a:gd name="connsiteX17" fmla="*/ 169333 w 362309"/>
                  <a:gd name="connsiteY17" fmla="*/ 178113 h 361971"/>
                  <a:gd name="connsiteX18" fmla="*/ 196171 w 362309"/>
                  <a:gd name="connsiteY18" fmla="*/ 178113 h 361971"/>
                  <a:gd name="connsiteX19" fmla="*/ 202561 w 362309"/>
                  <a:gd name="connsiteY19" fmla="*/ 184497 h 361971"/>
                  <a:gd name="connsiteX20" fmla="*/ 201922 w 362309"/>
                  <a:gd name="connsiteY20" fmla="*/ 266850 h 361971"/>
                  <a:gd name="connsiteX21" fmla="*/ 307356 w 362309"/>
                  <a:gd name="connsiteY21" fmla="*/ 197265 h 361971"/>
                  <a:gd name="connsiteX22" fmla="*/ 302883 w 362309"/>
                  <a:gd name="connsiteY22" fmla="*/ 199180 h 361971"/>
                  <a:gd name="connsiteX23" fmla="*/ 298410 w 362309"/>
                  <a:gd name="connsiteY23" fmla="*/ 197265 h 361971"/>
                  <a:gd name="connsiteX24" fmla="*/ 258154 w 362309"/>
                  <a:gd name="connsiteY24" fmla="*/ 157046 h 361971"/>
                  <a:gd name="connsiteX25" fmla="*/ 194254 w 362309"/>
                  <a:gd name="connsiteY25" fmla="*/ 148108 h 361971"/>
                  <a:gd name="connsiteX26" fmla="*/ 203200 w 362309"/>
                  <a:gd name="connsiteY26" fmla="*/ 84269 h 361971"/>
                  <a:gd name="connsiteX27" fmla="*/ 267099 w 362309"/>
                  <a:gd name="connsiteY27" fmla="*/ 93206 h 361971"/>
                  <a:gd name="connsiteX28" fmla="*/ 267099 w 362309"/>
                  <a:gd name="connsiteY28" fmla="*/ 147470 h 361971"/>
                  <a:gd name="connsiteX29" fmla="*/ 307356 w 362309"/>
                  <a:gd name="connsiteY29" fmla="*/ 187051 h 361971"/>
                  <a:gd name="connsiteX30" fmla="*/ 307356 w 362309"/>
                  <a:gd name="connsiteY30" fmla="*/ 197265 h 361971"/>
                  <a:gd name="connsiteX31" fmla="*/ 307356 w 362309"/>
                  <a:gd name="connsiteY31" fmla="*/ 197265 h 361971"/>
                  <a:gd name="connsiteX32" fmla="*/ 307356 w 362309"/>
                  <a:gd name="connsiteY32" fmla="*/ 1972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lose/>
                    <a:moveTo>
                      <a:pt x="201922" y="266850"/>
                    </a:moveTo>
                    <a:cubicBezTo>
                      <a:pt x="201922" y="270681"/>
                      <a:pt x="199366" y="273234"/>
                      <a:pt x="195532" y="273234"/>
                    </a:cubicBezTo>
                    <a:lnTo>
                      <a:pt x="71567" y="273234"/>
                    </a:lnTo>
                    <a:cubicBezTo>
                      <a:pt x="67733" y="273234"/>
                      <a:pt x="65177" y="270681"/>
                      <a:pt x="65177" y="266850"/>
                    </a:cubicBezTo>
                    <a:lnTo>
                      <a:pt x="65177" y="183859"/>
                    </a:lnTo>
                    <a:cubicBezTo>
                      <a:pt x="65177" y="180028"/>
                      <a:pt x="67733" y="177475"/>
                      <a:pt x="71567" y="177475"/>
                    </a:cubicBezTo>
                    <a:lnTo>
                      <a:pt x="98405" y="177475"/>
                    </a:lnTo>
                    <a:lnTo>
                      <a:pt x="98405" y="151300"/>
                    </a:lnTo>
                    <a:cubicBezTo>
                      <a:pt x="98405" y="147470"/>
                      <a:pt x="100961" y="144916"/>
                      <a:pt x="104795" y="144916"/>
                    </a:cubicBezTo>
                    <a:lnTo>
                      <a:pt x="162943" y="144916"/>
                    </a:lnTo>
                    <a:cubicBezTo>
                      <a:pt x="166777" y="144916"/>
                      <a:pt x="169333" y="147470"/>
                      <a:pt x="169333" y="151300"/>
                    </a:cubicBezTo>
                    <a:lnTo>
                      <a:pt x="169333" y="178113"/>
                    </a:lnTo>
                    <a:lnTo>
                      <a:pt x="196171" y="178113"/>
                    </a:lnTo>
                    <a:cubicBezTo>
                      <a:pt x="200005" y="178113"/>
                      <a:pt x="202561" y="180667"/>
                      <a:pt x="202561" y="184497"/>
                    </a:cubicBezTo>
                    <a:lnTo>
                      <a:pt x="201922" y="266850"/>
                    </a:lnTo>
                    <a:close/>
                    <a:moveTo>
                      <a:pt x="307356" y="197265"/>
                    </a:moveTo>
                    <a:cubicBezTo>
                      <a:pt x="306078" y="198542"/>
                      <a:pt x="304800" y="199180"/>
                      <a:pt x="302883" y="199180"/>
                    </a:cubicBezTo>
                    <a:cubicBezTo>
                      <a:pt x="300966" y="199180"/>
                      <a:pt x="299688" y="198542"/>
                      <a:pt x="298410" y="197265"/>
                    </a:cubicBezTo>
                    <a:lnTo>
                      <a:pt x="258154" y="157046"/>
                    </a:lnTo>
                    <a:cubicBezTo>
                      <a:pt x="238345" y="172368"/>
                      <a:pt x="209590" y="167899"/>
                      <a:pt x="194254" y="148108"/>
                    </a:cubicBezTo>
                    <a:cubicBezTo>
                      <a:pt x="178918" y="128318"/>
                      <a:pt x="183391" y="99590"/>
                      <a:pt x="203200" y="84269"/>
                    </a:cubicBezTo>
                    <a:cubicBezTo>
                      <a:pt x="223009" y="68947"/>
                      <a:pt x="251764" y="73416"/>
                      <a:pt x="267099" y="93206"/>
                    </a:cubicBezTo>
                    <a:cubicBezTo>
                      <a:pt x="279240" y="109166"/>
                      <a:pt x="279240" y="131510"/>
                      <a:pt x="267099" y="147470"/>
                    </a:cubicBezTo>
                    <a:lnTo>
                      <a:pt x="307356" y="187051"/>
                    </a:lnTo>
                    <a:cubicBezTo>
                      <a:pt x="309912" y="190243"/>
                      <a:pt x="310551" y="194711"/>
                      <a:pt x="307356" y="197265"/>
                    </a:cubicBezTo>
                    <a:cubicBezTo>
                      <a:pt x="307995" y="197265"/>
                      <a:pt x="307995" y="197265"/>
                      <a:pt x="307356" y="197265"/>
                    </a:cubicBezTo>
                    <a:lnTo>
                      <a:pt x="307356" y="197265"/>
                    </a:lnTo>
                    <a:close/>
                  </a:path>
                </a:pathLst>
              </a:custGeom>
              <a:solidFill>
                <a:schemeClr val="accent6">
                  <a:lumMod val="100000"/>
                </a:schemeClr>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4" name="Group 43">
            <a:extLst>
              <a:ext uri="{FF2B5EF4-FFF2-40B4-BE49-F238E27FC236}">
                <a16:creationId xmlns:a16="http://schemas.microsoft.com/office/drawing/2014/main" id="{135C0A5B-12DF-BED5-C2F7-0530D1A9A882}"/>
              </a:ext>
            </a:extLst>
          </p:cNvPr>
          <p:cNvGrpSpPr/>
          <p:nvPr/>
        </p:nvGrpSpPr>
        <p:grpSpPr>
          <a:xfrm>
            <a:off x="4975722" y="1943759"/>
            <a:ext cx="2041864" cy="3360427"/>
            <a:chOff x="4666441" y="1943759"/>
            <a:chExt cx="2041864" cy="3360427"/>
          </a:xfrm>
        </p:grpSpPr>
        <p:sp>
          <p:nvSpPr>
            <p:cNvPr id="5" name="TextBox 4">
              <a:extLst>
                <a:ext uri="{FF2B5EF4-FFF2-40B4-BE49-F238E27FC236}">
                  <a16:creationId xmlns:a16="http://schemas.microsoft.com/office/drawing/2014/main" id="{A0C85E8E-6B31-3776-7E8B-767A344A6FC1}"/>
                </a:ext>
              </a:extLst>
            </p:cNvPr>
            <p:cNvSpPr txBox="1"/>
            <p:nvPr/>
          </p:nvSpPr>
          <p:spPr>
            <a:xfrm>
              <a:off x="4666441" y="3196208"/>
              <a:ext cx="2041864" cy="369332"/>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Data Lineage</a:t>
              </a:r>
            </a:p>
          </p:txBody>
        </p:sp>
        <p:sp>
          <p:nvSpPr>
            <p:cNvPr id="11" name="TextBox 10">
              <a:extLst>
                <a:ext uri="{FF2B5EF4-FFF2-40B4-BE49-F238E27FC236}">
                  <a16:creationId xmlns:a16="http://schemas.microsoft.com/office/drawing/2014/main" id="{E8B8B926-D6B0-95EE-437D-AD16AC0698BD}"/>
                </a:ext>
              </a:extLst>
            </p:cNvPr>
            <p:cNvSpPr txBox="1"/>
            <p:nvPr/>
          </p:nvSpPr>
          <p:spPr>
            <a:xfrm>
              <a:off x="4793415" y="3734526"/>
              <a:ext cx="1787917" cy="1569660"/>
            </a:xfrm>
            <a:prstGeom prst="rect">
              <a:avLst/>
            </a:prstGeom>
            <a:noFill/>
          </p:spPr>
          <p:txBody>
            <a:bodyPr wrap="square">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Provides a comprehensive and accurate view of data flows and transformations, enabling better decision-making and risk management. </a:t>
              </a:r>
            </a:p>
          </p:txBody>
        </p:sp>
        <p:grpSp>
          <p:nvGrpSpPr>
            <p:cNvPr id="21" name="Graphic 4">
              <a:extLst>
                <a:ext uri="{FF2B5EF4-FFF2-40B4-BE49-F238E27FC236}">
                  <a16:creationId xmlns:a16="http://schemas.microsoft.com/office/drawing/2014/main" id="{9EC9C3C3-5B9E-9C11-2D8F-D677D06707F8}"/>
                </a:ext>
              </a:extLst>
            </p:cNvPr>
            <p:cNvGrpSpPr>
              <a:grpSpLocks noChangeAspect="1"/>
            </p:cNvGrpSpPr>
            <p:nvPr/>
          </p:nvGrpSpPr>
          <p:grpSpPr>
            <a:xfrm>
              <a:off x="5225734" y="1943759"/>
              <a:ext cx="923278" cy="922407"/>
              <a:chOff x="1952125" y="4308712"/>
              <a:chExt cx="362313" cy="361971"/>
            </a:xfrm>
            <a:solidFill>
              <a:schemeClr val="accent1"/>
            </a:solidFill>
          </p:grpSpPr>
          <p:sp>
            <p:nvSpPr>
              <p:cNvPr id="22" name="Graphic 4">
                <a:extLst>
                  <a:ext uri="{FF2B5EF4-FFF2-40B4-BE49-F238E27FC236}">
                    <a16:creationId xmlns:a16="http://schemas.microsoft.com/office/drawing/2014/main" id="{B775D6C9-0596-44F3-E066-1807B1255797}"/>
                  </a:ext>
                </a:extLst>
              </p:cNvPr>
              <p:cNvSpPr/>
              <p:nvPr/>
            </p:nvSpPr>
            <p:spPr>
              <a:xfrm>
                <a:off x="1952125" y="4308712"/>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305439 w 362313"/>
                  <a:gd name="connsiteY7" fmla="*/ 193435 h 361971"/>
                  <a:gd name="connsiteX8" fmla="*/ 298410 w 362313"/>
                  <a:gd name="connsiteY8" fmla="*/ 203649 h 361971"/>
                  <a:gd name="connsiteX9" fmla="*/ 282435 w 362313"/>
                  <a:gd name="connsiteY9" fmla="*/ 209395 h 361971"/>
                  <a:gd name="connsiteX10" fmla="*/ 276684 w 362313"/>
                  <a:gd name="connsiteY10" fmla="*/ 225355 h 361971"/>
                  <a:gd name="connsiteX11" fmla="*/ 285630 w 362313"/>
                  <a:gd name="connsiteY11" fmla="*/ 240038 h 361971"/>
                  <a:gd name="connsiteX12" fmla="*/ 284991 w 362313"/>
                  <a:gd name="connsiteY12" fmla="*/ 252806 h 361971"/>
                  <a:gd name="connsiteX13" fmla="*/ 269016 w 362313"/>
                  <a:gd name="connsiteY13" fmla="*/ 271958 h 361971"/>
                  <a:gd name="connsiteX14" fmla="*/ 256876 w 362313"/>
                  <a:gd name="connsiteY14" fmla="*/ 275150 h 361971"/>
                  <a:gd name="connsiteX15" fmla="*/ 240901 w 362313"/>
                  <a:gd name="connsiteY15" fmla="*/ 268766 h 361971"/>
                  <a:gd name="connsiteX16" fmla="*/ 226204 w 362313"/>
                  <a:gd name="connsiteY16" fmla="*/ 277065 h 361971"/>
                  <a:gd name="connsiteX17" fmla="*/ 223648 w 362313"/>
                  <a:gd name="connsiteY17" fmla="*/ 294302 h 361971"/>
                  <a:gd name="connsiteX18" fmla="*/ 214702 w 362313"/>
                  <a:gd name="connsiteY18" fmla="*/ 302601 h 361971"/>
                  <a:gd name="connsiteX19" fmla="*/ 190420 w 362313"/>
                  <a:gd name="connsiteY19" fmla="*/ 307070 h 361971"/>
                  <a:gd name="connsiteX20" fmla="*/ 188503 w 362313"/>
                  <a:gd name="connsiteY20" fmla="*/ 307070 h 361971"/>
                  <a:gd name="connsiteX21" fmla="*/ 178918 w 362313"/>
                  <a:gd name="connsiteY21" fmla="*/ 301324 h 361971"/>
                  <a:gd name="connsiteX22" fmla="*/ 170611 w 362313"/>
                  <a:gd name="connsiteY22" fmla="*/ 286641 h 361971"/>
                  <a:gd name="connsiteX23" fmla="*/ 153998 w 362313"/>
                  <a:gd name="connsiteY23" fmla="*/ 283449 h 361971"/>
                  <a:gd name="connsiteX24" fmla="*/ 141218 w 362313"/>
                  <a:gd name="connsiteY24" fmla="*/ 294940 h 361971"/>
                  <a:gd name="connsiteX25" fmla="*/ 128438 w 362313"/>
                  <a:gd name="connsiteY25" fmla="*/ 296217 h 361971"/>
                  <a:gd name="connsiteX26" fmla="*/ 106712 w 362313"/>
                  <a:gd name="connsiteY26" fmla="*/ 284087 h 361971"/>
                  <a:gd name="connsiteX27" fmla="*/ 101600 w 362313"/>
                  <a:gd name="connsiteY27" fmla="*/ 272596 h 361971"/>
                  <a:gd name="connsiteX28" fmla="*/ 104795 w 362313"/>
                  <a:gd name="connsiteY28" fmla="*/ 255998 h 361971"/>
                  <a:gd name="connsiteX29" fmla="*/ 93932 w 362313"/>
                  <a:gd name="connsiteY29" fmla="*/ 243230 h 361971"/>
                  <a:gd name="connsiteX30" fmla="*/ 76679 w 362313"/>
                  <a:gd name="connsiteY30" fmla="*/ 243230 h 361971"/>
                  <a:gd name="connsiteX31" fmla="*/ 66455 w 362313"/>
                  <a:gd name="connsiteY31" fmla="*/ 236207 h 361971"/>
                  <a:gd name="connsiteX32" fmla="*/ 58148 w 362313"/>
                  <a:gd name="connsiteY32" fmla="*/ 213225 h 361971"/>
                  <a:gd name="connsiteX33" fmla="*/ 61343 w 362313"/>
                  <a:gd name="connsiteY33" fmla="*/ 201095 h 361971"/>
                  <a:gd name="connsiteX34" fmla="*/ 74762 w 362313"/>
                  <a:gd name="connsiteY34" fmla="*/ 190243 h 361971"/>
                  <a:gd name="connsiteX35" fmla="*/ 74762 w 362313"/>
                  <a:gd name="connsiteY35" fmla="*/ 173006 h 361971"/>
                  <a:gd name="connsiteX36" fmla="*/ 61343 w 362313"/>
                  <a:gd name="connsiteY36" fmla="*/ 162153 h 361971"/>
                  <a:gd name="connsiteX37" fmla="*/ 58148 w 362313"/>
                  <a:gd name="connsiteY37" fmla="*/ 150024 h 361971"/>
                  <a:gd name="connsiteX38" fmla="*/ 66455 w 362313"/>
                  <a:gd name="connsiteY38" fmla="*/ 127041 h 361971"/>
                  <a:gd name="connsiteX39" fmla="*/ 76679 w 362313"/>
                  <a:gd name="connsiteY39" fmla="*/ 120019 h 361971"/>
                  <a:gd name="connsiteX40" fmla="*/ 93932 w 362313"/>
                  <a:gd name="connsiteY40" fmla="*/ 120657 h 361971"/>
                  <a:gd name="connsiteX41" fmla="*/ 104795 w 362313"/>
                  <a:gd name="connsiteY41" fmla="*/ 107889 h 361971"/>
                  <a:gd name="connsiteX42" fmla="*/ 101600 w 362313"/>
                  <a:gd name="connsiteY42" fmla="*/ 91291 h 361971"/>
                  <a:gd name="connsiteX43" fmla="*/ 106712 w 362313"/>
                  <a:gd name="connsiteY43" fmla="*/ 79800 h 361971"/>
                  <a:gd name="connsiteX44" fmla="*/ 128438 w 362313"/>
                  <a:gd name="connsiteY44" fmla="*/ 67670 h 361971"/>
                  <a:gd name="connsiteX45" fmla="*/ 140579 w 362313"/>
                  <a:gd name="connsiteY45" fmla="*/ 68947 h 361971"/>
                  <a:gd name="connsiteX46" fmla="*/ 153358 w 362313"/>
                  <a:gd name="connsiteY46" fmla="*/ 80438 h 361971"/>
                  <a:gd name="connsiteX47" fmla="*/ 169972 w 362313"/>
                  <a:gd name="connsiteY47" fmla="*/ 77246 h 361971"/>
                  <a:gd name="connsiteX48" fmla="*/ 178279 w 362313"/>
                  <a:gd name="connsiteY48" fmla="*/ 62563 h 361971"/>
                  <a:gd name="connsiteX49" fmla="*/ 189781 w 362313"/>
                  <a:gd name="connsiteY49" fmla="*/ 57456 h 361971"/>
                  <a:gd name="connsiteX50" fmla="*/ 214063 w 362313"/>
                  <a:gd name="connsiteY50" fmla="*/ 61925 h 361971"/>
                  <a:gd name="connsiteX51" fmla="*/ 223009 w 362313"/>
                  <a:gd name="connsiteY51" fmla="*/ 70862 h 361971"/>
                  <a:gd name="connsiteX52" fmla="*/ 225565 w 362313"/>
                  <a:gd name="connsiteY52" fmla="*/ 87461 h 361971"/>
                  <a:gd name="connsiteX53" fmla="*/ 240262 w 362313"/>
                  <a:gd name="connsiteY53" fmla="*/ 95760 h 361971"/>
                  <a:gd name="connsiteX54" fmla="*/ 256237 w 362313"/>
                  <a:gd name="connsiteY54" fmla="*/ 89376 h 361971"/>
                  <a:gd name="connsiteX55" fmla="*/ 268377 w 362313"/>
                  <a:gd name="connsiteY55" fmla="*/ 92568 h 361971"/>
                  <a:gd name="connsiteX56" fmla="*/ 284352 w 362313"/>
                  <a:gd name="connsiteY56" fmla="*/ 111720 h 361971"/>
                  <a:gd name="connsiteX57" fmla="*/ 284991 w 362313"/>
                  <a:gd name="connsiteY57" fmla="*/ 123849 h 361971"/>
                  <a:gd name="connsiteX58" fmla="*/ 276045 w 362313"/>
                  <a:gd name="connsiteY58" fmla="*/ 138533 h 361971"/>
                  <a:gd name="connsiteX59" fmla="*/ 281796 w 362313"/>
                  <a:gd name="connsiteY59" fmla="*/ 154492 h 361971"/>
                  <a:gd name="connsiteX60" fmla="*/ 297771 w 362313"/>
                  <a:gd name="connsiteY60" fmla="*/ 160238 h 361971"/>
                  <a:gd name="connsiteX61" fmla="*/ 304800 w 362313"/>
                  <a:gd name="connsiteY61" fmla="*/ 170452 h 361971"/>
                  <a:gd name="connsiteX62" fmla="*/ 305439 w 362313"/>
                  <a:gd name="connsiteY62" fmla="*/ 19343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lnTo>
                      <a:pt x="181474" y="0"/>
                    </a:lnTo>
                    <a:close/>
                    <a:moveTo>
                      <a:pt x="305439" y="193435"/>
                    </a:moveTo>
                    <a:cubicBezTo>
                      <a:pt x="305439" y="197903"/>
                      <a:pt x="302244" y="202372"/>
                      <a:pt x="298410" y="203649"/>
                    </a:cubicBezTo>
                    <a:lnTo>
                      <a:pt x="282435" y="209395"/>
                    </a:lnTo>
                    <a:lnTo>
                      <a:pt x="276684" y="225355"/>
                    </a:lnTo>
                    <a:lnTo>
                      <a:pt x="285630" y="240038"/>
                    </a:lnTo>
                    <a:cubicBezTo>
                      <a:pt x="288186" y="243868"/>
                      <a:pt x="287547" y="248975"/>
                      <a:pt x="284991" y="252806"/>
                    </a:cubicBezTo>
                    <a:lnTo>
                      <a:pt x="269016" y="271958"/>
                    </a:lnTo>
                    <a:cubicBezTo>
                      <a:pt x="265821" y="275788"/>
                      <a:pt x="261348" y="276426"/>
                      <a:pt x="256876" y="275150"/>
                    </a:cubicBezTo>
                    <a:lnTo>
                      <a:pt x="240901" y="268766"/>
                    </a:lnTo>
                    <a:lnTo>
                      <a:pt x="226204" y="277065"/>
                    </a:lnTo>
                    <a:lnTo>
                      <a:pt x="223648" y="294302"/>
                    </a:lnTo>
                    <a:cubicBezTo>
                      <a:pt x="223009" y="298770"/>
                      <a:pt x="219175" y="301962"/>
                      <a:pt x="214702" y="302601"/>
                    </a:cubicBezTo>
                    <a:lnTo>
                      <a:pt x="190420" y="307070"/>
                    </a:lnTo>
                    <a:lnTo>
                      <a:pt x="188503" y="307070"/>
                    </a:lnTo>
                    <a:cubicBezTo>
                      <a:pt x="184669" y="307070"/>
                      <a:pt x="180835" y="305154"/>
                      <a:pt x="178918" y="301324"/>
                    </a:cubicBezTo>
                    <a:lnTo>
                      <a:pt x="170611" y="286641"/>
                    </a:lnTo>
                    <a:lnTo>
                      <a:pt x="153998" y="283449"/>
                    </a:lnTo>
                    <a:lnTo>
                      <a:pt x="141218" y="294940"/>
                    </a:lnTo>
                    <a:cubicBezTo>
                      <a:pt x="137384" y="298132"/>
                      <a:pt x="132272" y="298770"/>
                      <a:pt x="128438" y="296217"/>
                    </a:cubicBezTo>
                    <a:lnTo>
                      <a:pt x="106712" y="284087"/>
                    </a:lnTo>
                    <a:cubicBezTo>
                      <a:pt x="102878" y="281534"/>
                      <a:pt x="100961" y="277065"/>
                      <a:pt x="101600" y="272596"/>
                    </a:cubicBezTo>
                    <a:lnTo>
                      <a:pt x="104795" y="255998"/>
                    </a:lnTo>
                    <a:lnTo>
                      <a:pt x="93932" y="243230"/>
                    </a:lnTo>
                    <a:lnTo>
                      <a:pt x="76679" y="243230"/>
                    </a:lnTo>
                    <a:cubicBezTo>
                      <a:pt x="72206" y="243230"/>
                      <a:pt x="67733" y="240676"/>
                      <a:pt x="66455" y="236207"/>
                    </a:cubicBezTo>
                    <a:lnTo>
                      <a:pt x="58148" y="213225"/>
                    </a:lnTo>
                    <a:cubicBezTo>
                      <a:pt x="56870" y="208756"/>
                      <a:pt x="58148" y="204287"/>
                      <a:pt x="61343" y="201095"/>
                    </a:cubicBezTo>
                    <a:lnTo>
                      <a:pt x="74762" y="190243"/>
                    </a:lnTo>
                    <a:lnTo>
                      <a:pt x="74762" y="173006"/>
                    </a:lnTo>
                    <a:lnTo>
                      <a:pt x="61343" y="162153"/>
                    </a:lnTo>
                    <a:cubicBezTo>
                      <a:pt x="57509" y="159600"/>
                      <a:pt x="56231" y="154492"/>
                      <a:pt x="58148" y="150024"/>
                    </a:cubicBezTo>
                    <a:lnTo>
                      <a:pt x="66455" y="127041"/>
                    </a:lnTo>
                    <a:cubicBezTo>
                      <a:pt x="68372" y="122573"/>
                      <a:pt x="72206" y="120019"/>
                      <a:pt x="76679" y="120019"/>
                    </a:cubicBezTo>
                    <a:lnTo>
                      <a:pt x="93932" y="120657"/>
                    </a:lnTo>
                    <a:lnTo>
                      <a:pt x="104795" y="107889"/>
                    </a:lnTo>
                    <a:lnTo>
                      <a:pt x="101600" y="91291"/>
                    </a:lnTo>
                    <a:cubicBezTo>
                      <a:pt x="100961" y="86822"/>
                      <a:pt x="102878" y="82354"/>
                      <a:pt x="106712" y="79800"/>
                    </a:cubicBezTo>
                    <a:lnTo>
                      <a:pt x="128438" y="67670"/>
                    </a:lnTo>
                    <a:cubicBezTo>
                      <a:pt x="132272" y="65117"/>
                      <a:pt x="137384" y="65755"/>
                      <a:pt x="140579" y="68947"/>
                    </a:cubicBezTo>
                    <a:lnTo>
                      <a:pt x="153358" y="80438"/>
                    </a:lnTo>
                    <a:lnTo>
                      <a:pt x="169972" y="77246"/>
                    </a:lnTo>
                    <a:lnTo>
                      <a:pt x="178279" y="62563"/>
                    </a:lnTo>
                    <a:cubicBezTo>
                      <a:pt x="180196" y="58733"/>
                      <a:pt x="184669" y="56179"/>
                      <a:pt x="189781" y="57456"/>
                    </a:cubicBezTo>
                    <a:lnTo>
                      <a:pt x="214063" y="61925"/>
                    </a:lnTo>
                    <a:cubicBezTo>
                      <a:pt x="218536" y="62563"/>
                      <a:pt x="222370" y="66394"/>
                      <a:pt x="223009" y="70862"/>
                    </a:cubicBezTo>
                    <a:lnTo>
                      <a:pt x="225565" y="87461"/>
                    </a:lnTo>
                    <a:lnTo>
                      <a:pt x="240262" y="95760"/>
                    </a:lnTo>
                    <a:lnTo>
                      <a:pt x="256237" y="89376"/>
                    </a:lnTo>
                    <a:cubicBezTo>
                      <a:pt x="260709" y="87461"/>
                      <a:pt x="265182" y="88738"/>
                      <a:pt x="268377" y="92568"/>
                    </a:cubicBezTo>
                    <a:lnTo>
                      <a:pt x="284352" y="111720"/>
                    </a:lnTo>
                    <a:cubicBezTo>
                      <a:pt x="287547" y="114912"/>
                      <a:pt x="287547" y="120019"/>
                      <a:pt x="284991" y="123849"/>
                    </a:cubicBezTo>
                    <a:lnTo>
                      <a:pt x="276045" y="138533"/>
                    </a:lnTo>
                    <a:lnTo>
                      <a:pt x="281796" y="154492"/>
                    </a:lnTo>
                    <a:lnTo>
                      <a:pt x="297771" y="160238"/>
                    </a:lnTo>
                    <a:cubicBezTo>
                      <a:pt x="302244" y="161515"/>
                      <a:pt x="304800" y="165984"/>
                      <a:pt x="304800" y="170452"/>
                    </a:cubicBezTo>
                    <a:lnTo>
                      <a:pt x="305439" y="193435"/>
                    </a:lnTo>
                    <a:close/>
                  </a:path>
                </a:pathLst>
              </a:custGeom>
              <a:solidFill>
                <a:schemeClr val="accent6">
                  <a:lumMod val="100000"/>
                </a:schemeClr>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3" name="Graphic 4">
                <a:extLst>
                  <a:ext uri="{FF2B5EF4-FFF2-40B4-BE49-F238E27FC236}">
                    <a16:creationId xmlns:a16="http://schemas.microsoft.com/office/drawing/2014/main" id="{C0F51733-4309-1B91-674B-C94C399C9779}"/>
                  </a:ext>
                </a:extLst>
              </p:cNvPr>
              <p:cNvSpPr/>
              <p:nvPr/>
            </p:nvSpPr>
            <p:spPr>
              <a:xfrm>
                <a:off x="2062032" y="4419154"/>
                <a:ext cx="140796" cy="141303"/>
              </a:xfrm>
              <a:custGeom>
                <a:avLst/>
                <a:gdLst>
                  <a:gd name="connsiteX0" fmla="*/ 70289 w 140796"/>
                  <a:gd name="connsiteY0" fmla="*/ 0 h 141303"/>
                  <a:gd name="connsiteX1" fmla="*/ 0 w 140796"/>
                  <a:gd name="connsiteY1" fmla="*/ 70224 h 141303"/>
                  <a:gd name="connsiteX2" fmla="*/ 7668 w 140796"/>
                  <a:gd name="connsiteY2" fmla="*/ 102144 h 141303"/>
                  <a:gd name="connsiteX3" fmla="*/ 33867 w 140796"/>
                  <a:gd name="connsiteY3" fmla="*/ 75970 h 141303"/>
                  <a:gd name="connsiteX4" fmla="*/ 33867 w 140796"/>
                  <a:gd name="connsiteY4" fmla="*/ 74693 h 141303"/>
                  <a:gd name="connsiteX5" fmla="*/ 33228 w 140796"/>
                  <a:gd name="connsiteY5" fmla="*/ 73416 h 141303"/>
                  <a:gd name="connsiteX6" fmla="*/ 67733 w 140796"/>
                  <a:gd name="connsiteY6" fmla="*/ 15322 h 141303"/>
                  <a:gd name="connsiteX7" fmla="*/ 83069 w 140796"/>
                  <a:gd name="connsiteY7" fmla="*/ 14045 h 141303"/>
                  <a:gd name="connsiteX8" fmla="*/ 90737 w 140796"/>
                  <a:gd name="connsiteY8" fmla="*/ 19791 h 141303"/>
                  <a:gd name="connsiteX9" fmla="*/ 88820 w 140796"/>
                  <a:gd name="connsiteY9" fmla="*/ 29367 h 141303"/>
                  <a:gd name="connsiteX10" fmla="*/ 70289 w 140796"/>
                  <a:gd name="connsiteY10" fmla="*/ 47880 h 141303"/>
                  <a:gd name="connsiteX11" fmla="*/ 74762 w 140796"/>
                  <a:gd name="connsiteY11" fmla="*/ 67032 h 141303"/>
                  <a:gd name="connsiteX12" fmla="*/ 93932 w 140796"/>
                  <a:gd name="connsiteY12" fmla="*/ 71501 h 141303"/>
                  <a:gd name="connsiteX13" fmla="*/ 112463 w 140796"/>
                  <a:gd name="connsiteY13" fmla="*/ 52987 h 141303"/>
                  <a:gd name="connsiteX14" fmla="*/ 122048 w 140796"/>
                  <a:gd name="connsiteY14" fmla="*/ 51072 h 141303"/>
                  <a:gd name="connsiteX15" fmla="*/ 127799 w 140796"/>
                  <a:gd name="connsiteY15" fmla="*/ 58733 h 141303"/>
                  <a:gd name="connsiteX16" fmla="*/ 83708 w 140796"/>
                  <a:gd name="connsiteY16" fmla="*/ 109805 h 141303"/>
                  <a:gd name="connsiteX17" fmla="*/ 68372 w 140796"/>
                  <a:gd name="connsiteY17" fmla="*/ 108528 h 141303"/>
                  <a:gd name="connsiteX18" fmla="*/ 67733 w 140796"/>
                  <a:gd name="connsiteY18" fmla="*/ 108528 h 141303"/>
                  <a:gd name="connsiteX19" fmla="*/ 65816 w 140796"/>
                  <a:gd name="connsiteY19" fmla="*/ 107889 h 141303"/>
                  <a:gd name="connsiteX20" fmla="*/ 39617 w 140796"/>
                  <a:gd name="connsiteY20" fmla="*/ 134064 h 141303"/>
                  <a:gd name="connsiteX21" fmla="*/ 133550 w 140796"/>
                  <a:gd name="connsiteY21" fmla="*/ 102144 h 141303"/>
                  <a:gd name="connsiteX22" fmla="*/ 101600 w 140796"/>
                  <a:gd name="connsiteY22" fmla="*/ 8299 h 141303"/>
                  <a:gd name="connsiteX23" fmla="*/ 70289 w 140796"/>
                  <a:gd name="connsiteY23" fmla="*/ 0 h 141303"/>
                  <a:gd name="connsiteX24" fmla="*/ 70289 w 140796"/>
                  <a:gd name="connsiteY24" fmla="*/ 0 h 14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796" h="141303">
                    <a:moveTo>
                      <a:pt x="70289" y="0"/>
                    </a:moveTo>
                    <a:cubicBezTo>
                      <a:pt x="31311" y="0"/>
                      <a:pt x="0" y="31282"/>
                      <a:pt x="0" y="70224"/>
                    </a:cubicBezTo>
                    <a:cubicBezTo>
                      <a:pt x="0" y="81077"/>
                      <a:pt x="2556" y="92568"/>
                      <a:pt x="7668" y="102144"/>
                    </a:cubicBezTo>
                    <a:lnTo>
                      <a:pt x="33867" y="75970"/>
                    </a:lnTo>
                    <a:cubicBezTo>
                      <a:pt x="33867" y="75331"/>
                      <a:pt x="33867" y="75331"/>
                      <a:pt x="33867" y="74693"/>
                    </a:cubicBezTo>
                    <a:cubicBezTo>
                      <a:pt x="33867" y="74054"/>
                      <a:pt x="33228" y="74054"/>
                      <a:pt x="33228" y="73416"/>
                    </a:cubicBezTo>
                    <a:cubicBezTo>
                      <a:pt x="26838" y="47880"/>
                      <a:pt x="42173" y="21706"/>
                      <a:pt x="67733" y="15322"/>
                    </a:cubicBezTo>
                    <a:cubicBezTo>
                      <a:pt x="72845" y="14045"/>
                      <a:pt x="77957" y="13407"/>
                      <a:pt x="83069" y="14045"/>
                    </a:cubicBezTo>
                    <a:cubicBezTo>
                      <a:pt x="86264" y="14045"/>
                      <a:pt x="89459" y="16599"/>
                      <a:pt x="90737" y="19791"/>
                    </a:cubicBezTo>
                    <a:cubicBezTo>
                      <a:pt x="92015" y="22983"/>
                      <a:pt x="91376" y="26813"/>
                      <a:pt x="88820" y="29367"/>
                    </a:cubicBezTo>
                    <a:lnTo>
                      <a:pt x="70289" y="47880"/>
                    </a:lnTo>
                    <a:lnTo>
                      <a:pt x="74762" y="67032"/>
                    </a:lnTo>
                    <a:lnTo>
                      <a:pt x="93932" y="71501"/>
                    </a:lnTo>
                    <a:lnTo>
                      <a:pt x="112463" y="52987"/>
                    </a:lnTo>
                    <a:cubicBezTo>
                      <a:pt x="115019" y="50434"/>
                      <a:pt x="118214" y="49795"/>
                      <a:pt x="122048" y="51072"/>
                    </a:cubicBezTo>
                    <a:cubicBezTo>
                      <a:pt x="125243" y="52349"/>
                      <a:pt x="127799" y="55541"/>
                      <a:pt x="127799" y="58733"/>
                    </a:cubicBezTo>
                    <a:cubicBezTo>
                      <a:pt x="129716" y="84907"/>
                      <a:pt x="109907" y="107889"/>
                      <a:pt x="83708" y="109805"/>
                    </a:cubicBezTo>
                    <a:cubicBezTo>
                      <a:pt x="78596" y="110443"/>
                      <a:pt x="73484" y="109805"/>
                      <a:pt x="68372" y="108528"/>
                    </a:cubicBezTo>
                    <a:lnTo>
                      <a:pt x="67733" y="108528"/>
                    </a:lnTo>
                    <a:lnTo>
                      <a:pt x="65816" y="107889"/>
                    </a:lnTo>
                    <a:lnTo>
                      <a:pt x="39617" y="134064"/>
                    </a:lnTo>
                    <a:cubicBezTo>
                      <a:pt x="74762" y="151300"/>
                      <a:pt x="116297" y="136617"/>
                      <a:pt x="133550" y="102144"/>
                    </a:cubicBezTo>
                    <a:cubicBezTo>
                      <a:pt x="150802" y="67032"/>
                      <a:pt x="136106" y="25536"/>
                      <a:pt x="101600" y="8299"/>
                    </a:cubicBezTo>
                    <a:cubicBezTo>
                      <a:pt x="91376" y="2554"/>
                      <a:pt x="81152" y="0"/>
                      <a:pt x="70289" y="0"/>
                    </a:cubicBezTo>
                    <a:lnTo>
                      <a:pt x="70289" y="0"/>
                    </a:lnTo>
                    <a:close/>
                  </a:path>
                </a:pathLst>
              </a:custGeom>
              <a:grpFill/>
              <a:ln w="6390"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Graphic 4">
                <a:extLst>
                  <a:ext uri="{FF2B5EF4-FFF2-40B4-BE49-F238E27FC236}">
                    <a16:creationId xmlns:a16="http://schemas.microsoft.com/office/drawing/2014/main" id="{7C982D48-0D87-F6FC-B8C9-6BD658A3A202}"/>
                  </a:ext>
                </a:extLst>
              </p:cNvPr>
              <p:cNvSpPr/>
              <p:nvPr/>
            </p:nvSpPr>
            <p:spPr>
              <a:xfrm>
                <a:off x="2076090" y="4445967"/>
                <a:ext cx="99683" cy="99590"/>
              </a:xfrm>
              <a:custGeom>
                <a:avLst/>
                <a:gdLst>
                  <a:gd name="connsiteX0" fmla="*/ 45369 w 99683"/>
                  <a:gd name="connsiteY0" fmla="*/ 68309 h 99590"/>
                  <a:gd name="connsiteX1" fmla="*/ 52398 w 99683"/>
                  <a:gd name="connsiteY1" fmla="*/ 67032 h 99590"/>
                  <a:gd name="connsiteX2" fmla="*/ 56870 w 99683"/>
                  <a:gd name="connsiteY2" fmla="*/ 68309 h 99590"/>
                  <a:gd name="connsiteX3" fmla="*/ 57509 w 99683"/>
                  <a:gd name="connsiteY3" fmla="*/ 68309 h 99590"/>
                  <a:gd name="connsiteX4" fmla="*/ 90098 w 99683"/>
                  <a:gd name="connsiteY4" fmla="*/ 58733 h 99590"/>
                  <a:gd name="connsiteX5" fmla="*/ 99683 w 99683"/>
                  <a:gd name="connsiteY5" fmla="*/ 41496 h 99590"/>
                  <a:gd name="connsiteX6" fmla="*/ 86264 w 99683"/>
                  <a:gd name="connsiteY6" fmla="*/ 54902 h 99590"/>
                  <a:gd name="connsiteX7" fmla="*/ 80513 w 99683"/>
                  <a:gd name="connsiteY7" fmla="*/ 56818 h 99590"/>
                  <a:gd name="connsiteX8" fmla="*/ 53675 w 99683"/>
                  <a:gd name="connsiteY8" fmla="*/ 50434 h 99590"/>
                  <a:gd name="connsiteX9" fmla="*/ 48564 w 99683"/>
                  <a:gd name="connsiteY9" fmla="*/ 45327 h 99590"/>
                  <a:gd name="connsiteX10" fmla="*/ 42174 w 99683"/>
                  <a:gd name="connsiteY10" fmla="*/ 18514 h 99590"/>
                  <a:gd name="connsiteX11" fmla="*/ 44091 w 99683"/>
                  <a:gd name="connsiteY11" fmla="*/ 12768 h 99590"/>
                  <a:gd name="connsiteX12" fmla="*/ 57509 w 99683"/>
                  <a:gd name="connsiteY12" fmla="*/ 0 h 99590"/>
                  <a:gd name="connsiteX13" fmla="*/ 30672 w 99683"/>
                  <a:gd name="connsiteY13" fmla="*/ 42135 h 99590"/>
                  <a:gd name="connsiteX14" fmla="*/ 31311 w 99683"/>
                  <a:gd name="connsiteY14" fmla="*/ 43411 h 99590"/>
                  <a:gd name="connsiteX15" fmla="*/ 32589 w 99683"/>
                  <a:gd name="connsiteY15" fmla="*/ 47880 h 99590"/>
                  <a:gd name="connsiteX16" fmla="*/ 31311 w 99683"/>
                  <a:gd name="connsiteY16" fmla="*/ 54902 h 99590"/>
                  <a:gd name="connsiteX17" fmla="*/ 0 w 99683"/>
                  <a:gd name="connsiteY17" fmla="*/ 86184 h 99590"/>
                  <a:gd name="connsiteX18" fmla="*/ 13419 w 99683"/>
                  <a:gd name="connsiteY18" fmla="*/ 99590 h 99590"/>
                  <a:gd name="connsiteX19" fmla="*/ 45369 w 99683"/>
                  <a:gd name="connsiteY19" fmla="*/ 68309 h 9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683" h="99590">
                    <a:moveTo>
                      <a:pt x="45369" y="68309"/>
                    </a:moveTo>
                    <a:cubicBezTo>
                      <a:pt x="47285" y="66394"/>
                      <a:pt x="49842" y="65755"/>
                      <a:pt x="52398" y="67032"/>
                    </a:cubicBezTo>
                    <a:cubicBezTo>
                      <a:pt x="53675" y="67670"/>
                      <a:pt x="55593" y="68309"/>
                      <a:pt x="56870" y="68309"/>
                    </a:cubicBezTo>
                    <a:lnTo>
                      <a:pt x="57509" y="68309"/>
                    </a:lnTo>
                    <a:cubicBezTo>
                      <a:pt x="69650" y="71501"/>
                      <a:pt x="81791" y="67670"/>
                      <a:pt x="90098" y="58733"/>
                    </a:cubicBezTo>
                    <a:cubicBezTo>
                      <a:pt x="94571" y="54264"/>
                      <a:pt x="98405" y="47880"/>
                      <a:pt x="99683" y="41496"/>
                    </a:cubicBezTo>
                    <a:lnTo>
                      <a:pt x="86264" y="54902"/>
                    </a:lnTo>
                    <a:cubicBezTo>
                      <a:pt x="84986" y="56179"/>
                      <a:pt x="82430" y="56818"/>
                      <a:pt x="80513" y="56818"/>
                    </a:cubicBezTo>
                    <a:lnTo>
                      <a:pt x="53675" y="50434"/>
                    </a:lnTo>
                    <a:cubicBezTo>
                      <a:pt x="51119" y="49795"/>
                      <a:pt x="49203" y="47880"/>
                      <a:pt x="48564" y="45327"/>
                    </a:cubicBezTo>
                    <a:lnTo>
                      <a:pt x="42174" y="18514"/>
                    </a:lnTo>
                    <a:cubicBezTo>
                      <a:pt x="41535" y="16599"/>
                      <a:pt x="42174" y="14045"/>
                      <a:pt x="44091" y="12768"/>
                    </a:cubicBezTo>
                    <a:lnTo>
                      <a:pt x="57509" y="0"/>
                    </a:lnTo>
                    <a:cubicBezTo>
                      <a:pt x="38340" y="4469"/>
                      <a:pt x="26838" y="22983"/>
                      <a:pt x="30672" y="42135"/>
                    </a:cubicBezTo>
                    <a:cubicBezTo>
                      <a:pt x="30672" y="42135"/>
                      <a:pt x="30672" y="42773"/>
                      <a:pt x="31311" y="43411"/>
                    </a:cubicBezTo>
                    <a:cubicBezTo>
                      <a:pt x="31950" y="44688"/>
                      <a:pt x="31950" y="46603"/>
                      <a:pt x="32589" y="47880"/>
                    </a:cubicBezTo>
                    <a:cubicBezTo>
                      <a:pt x="33867" y="50434"/>
                      <a:pt x="33228" y="52987"/>
                      <a:pt x="31311" y="54902"/>
                    </a:cubicBezTo>
                    <a:lnTo>
                      <a:pt x="0" y="86184"/>
                    </a:lnTo>
                    <a:cubicBezTo>
                      <a:pt x="3834" y="91291"/>
                      <a:pt x="8307" y="95760"/>
                      <a:pt x="13419" y="99590"/>
                    </a:cubicBezTo>
                    <a:lnTo>
                      <a:pt x="45369" y="68309"/>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 name="Graphic 4">
                <a:extLst>
                  <a:ext uri="{FF2B5EF4-FFF2-40B4-BE49-F238E27FC236}">
                    <a16:creationId xmlns:a16="http://schemas.microsoft.com/office/drawing/2014/main" id="{BF3E9DEB-5AE1-F6F3-BC80-34B0BA82730F}"/>
                  </a:ext>
                </a:extLst>
              </p:cNvPr>
              <p:cNvSpPr/>
              <p:nvPr/>
            </p:nvSpPr>
            <p:spPr>
              <a:xfrm>
                <a:off x="2023054" y="4377020"/>
                <a:ext cx="223008" cy="225993"/>
              </a:xfrm>
              <a:custGeom>
                <a:avLst/>
                <a:gdLst>
                  <a:gd name="connsiteX0" fmla="*/ 200644 w 223008"/>
                  <a:gd name="connsiteY0" fmla="*/ 91930 h 225993"/>
                  <a:gd name="connsiteX1" fmla="*/ 192976 w 223008"/>
                  <a:gd name="connsiteY1" fmla="*/ 70224 h 225993"/>
                  <a:gd name="connsiteX2" fmla="*/ 193615 w 223008"/>
                  <a:gd name="connsiteY2" fmla="*/ 64478 h 225993"/>
                  <a:gd name="connsiteX3" fmla="*/ 203200 w 223008"/>
                  <a:gd name="connsiteY3" fmla="*/ 48518 h 225993"/>
                  <a:gd name="connsiteX4" fmla="*/ 189142 w 223008"/>
                  <a:gd name="connsiteY4" fmla="*/ 31920 h 225993"/>
                  <a:gd name="connsiteX5" fmla="*/ 171889 w 223008"/>
                  <a:gd name="connsiteY5" fmla="*/ 38942 h 225993"/>
                  <a:gd name="connsiteX6" fmla="*/ 166138 w 223008"/>
                  <a:gd name="connsiteY6" fmla="*/ 38304 h 225993"/>
                  <a:gd name="connsiteX7" fmla="*/ 146330 w 223008"/>
                  <a:gd name="connsiteY7" fmla="*/ 26813 h 225993"/>
                  <a:gd name="connsiteX8" fmla="*/ 143135 w 223008"/>
                  <a:gd name="connsiteY8" fmla="*/ 22344 h 225993"/>
                  <a:gd name="connsiteX9" fmla="*/ 139940 w 223008"/>
                  <a:gd name="connsiteY9" fmla="*/ 3830 h 225993"/>
                  <a:gd name="connsiteX10" fmla="*/ 118214 w 223008"/>
                  <a:gd name="connsiteY10" fmla="*/ 0 h 225993"/>
                  <a:gd name="connsiteX11" fmla="*/ 109268 w 223008"/>
                  <a:gd name="connsiteY11" fmla="*/ 16598 h 225993"/>
                  <a:gd name="connsiteX12" fmla="*/ 104795 w 223008"/>
                  <a:gd name="connsiteY12" fmla="*/ 19790 h 225993"/>
                  <a:gd name="connsiteX13" fmla="*/ 81791 w 223008"/>
                  <a:gd name="connsiteY13" fmla="*/ 23621 h 225993"/>
                  <a:gd name="connsiteX14" fmla="*/ 76679 w 223008"/>
                  <a:gd name="connsiteY14" fmla="*/ 22344 h 225993"/>
                  <a:gd name="connsiteX15" fmla="*/ 62621 w 223008"/>
                  <a:gd name="connsiteY15" fmla="*/ 10214 h 225993"/>
                  <a:gd name="connsiteX16" fmla="*/ 43451 w 223008"/>
                  <a:gd name="connsiteY16" fmla="*/ 21067 h 225993"/>
                  <a:gd name="connsiteX17" fmla="*/ 47285 w 223008"/>
                  <a:gd name="connsiteY17" fmla="*/ 39581 h 225993"/>
                  <a:gd name="connsiteX18" fmla="*/ 46007 w 223008"/>
                  <a:gd name="connsiteY18" fmla="*/ 44688 h 225993"/>
                  <a:gd name="connsiteX19" fmla="*/ 31311 w 223008"/>
                  <a:gd name="connsiteY19" fmla="*/ 62563 h 225993"/>
                  <a:gd name="connsiteX20" fmla="*/ 26199 w 223008"/>
                  <a:gd name="connsiteY20" fmla="*/ 65117 h 225993"/>
                  <a:gd name="connsiteX21" fmla="*/ 7668 w 223008"/>
                  <a:gd name="connsiteY21" fmla="*/ 64478 h 225993"/>
                  <a:gd name="connsiteX22" fmla="*/ 0 w 223008"/>
                  <a:gd name="connsiteY22" fmla="*/ 84907 h 225993"/>
                  <a:gd name="connsiteX23" fmla="*/ 14697 w 223008"/>
                  <a:gd name="connsiteY23" fmla="*/ 96398 h 225993"/>
                  <a:gd name="connsiteX24" fmla="*/ 17253 w 223008"/>
                  <a:gd name="connsiteY24" fmla="*/ 101505 h 225993"/>
                  <a:gd name="connsiteX25" fmla="*/ 17253 w 223008"/>
                  <a:gd name="connsiteY25" fmla="*/ 124488 h 225993"/>
                  <a:gd name="connsiteX26" fmla="*/ 14697 w 223008"/>
                  <a:gd name="connsiteY26" fmla="*/ 129595 h 225993"/>
                  <a:gd name="connsiteX27" fmla="*/ 0 w 223008"/>
                  <a:gd name="connsiteY27" fmla="*/ 141086 h 225993"/>
                  <a:gd name="connsiteX28" fmla="*/ 7668 w 223008"/>
                  <a:gd name="connsiteY28" fmla="*/ 161515 h 225993"/>
                  <a:gd name="connsiteX29" fmla="*/ 26199 w 223008"/>
                  <a:gd name="connsiteY29" fmla="*/ 160876 h 225993"/>
                  <a:gd name="connsiteX30" fmla="*/ 31311 w 223008"/>
                  <a:gd name="connsiteY30" fmla="*/ 163430 h 225993"/>
                  <a:gd name="connsiteX31" fmla="*/ 46007 w 223008"/>
                  <a:gd name="connsiteY31" fmla="*/ 181305 h 225993"/>
                  <a:gd name="connsiteX32" fmla="*/ 47285 w 223008"/>
                  <a:gd name="connsiteY32" fmla="*/ 186412 h 225993"/>
                  <a:gd name="connsiteX33" fmla="*/ 43451 w 223008"/>
                  <a:gd name="connsiteY33" fmla="*/ 204926 h 225993"/>
                  <a:gd name="connsiteX34" fmla="*/ 62621 w 223008"/>
                  <a:gd name="connsiteY34" fmla="*/ 215779 h 225993"/>
                  <a:gd name="connsiteX35" fmla="*/ 76679 w 223008"/>
                  <a:gd name="connsiteY35" fmla="*/ 203649 h 225993"/>
                  <a:gd name="connsiteX36" fmla="*/ 81152 w 223008"/>
                  <a:gd name="connsiteY36" fmla="*/ 202372 h 225993"/>
                  <a:gd name="connsiteX37" fmla="*/ 82430 w 223008"/>
                  <a:gd name="connsiteY37" fmla="*/ 202372 h 225993"/>
                  <a:gd name="connsiteX38" fmla="*/ 105434 w 223008"/>
                  <a:gd name="connsiteY38" fmla="*/ 206203 h 225993"/>
                  <a:gd name="connsiteX39" fmla="*/ 109907 w 223008"/>
                  <a:gd name="connsiteY39" fmla="*/ 209395 h 225993"/>
                  <a:gd name="connsiteX40" fmla="*/ 118853 w 223008"/>
                  <a:gd name="connsiteY40" fmla="*/ 225993 h 225993"/>
                  <a:gd name="connsiteX41" fmla="*/ 140579 w 223008"/>
                  <a:gd name="connsiteY41" fmla="*/ 222163 h 225993"/>
                  <a:gd name="connsiteX42" fmla="*/ 143774 w 223008"/>
                  <a:gd name="connsiteY42" fmla="*/ 203649 h 225993"/>
                  <a:gd name="connsiteX43" fmla="*/ 146969 w 223008"/>
                  <a:gd name="connsiteY43" fmla="*/ 199180 h 225993"/>
                  <a:gd name="connsiteX44" fmla="*/ 166777 w 223008"/>
                  <a:gd name="connsiteY44" fmla="*/ 187689 h 225993"/>
                  <a:gd name="connsiteX45" fmla="*/ 172528 w 223008"/>
                  <a:gd name="connsiteY45" fmla="*/ 187051 h 225993"/>
                  <a:gd name="connsiteX46" fmla="*/ 189781 w 223008"/>
                  <a:gd name="connsiteY46" fmla="*/ 194073 h 225993"/>
                  <a:gd name="connsiteX47" fmla="*/ 203839 w 223008"/>
                  <a:gd name="connsiteY47" fmla="*/ 177475 h 225993"/>
                  <a:gd name="connsiteX48" fmla="*/ 194254 w 223008"/>
                  <a:gd name="connsiteY48" fmla="*/ 161515 h 225993"/>
                  <a:gd name="connsiteX49" fmla="*/ 193615 w 223008"/>
                  <a:gd name="connsiteY49" fmla="*/ 155769 h 225993"/>
                  <a:gd name="connsiteX50" fmla="*/ 201283 w 223008"/>
                  <a:gd name="connsiteY50" fmla="*/ 134064 h 225993"/>
                  <a:gd name="connsiteX51" fmla="*/ 205117 w 223008"/>
                  <a:gd name="connsiteY51" fmla="*/ 130233 h 225993"/>
                  <a:gd name="connsiteX52" fmla="*/ 223009 w 223008"/>
                  <a:gd name="connsiteY52" fmla="*/ 124488 h 225993"/>
                  <a:gd name="connsiteX53" fmla="*/ 223009 w 223008"/>
                  <a:gd name="connsiteY53" fmla="*/ 102782 h 225993"/>
                  <a:gd name="connsiteX54" fmla="*/ 205117 w 223008"/>
                  <a:gd name="connsiteY54" fmla="*/ 96398 h 225993"/>
                  <a:gd name="connsiteX55" fmla="*/ 200644 w 223008"/>
                  <a:gd name="connsiteY55" fmla="*/ 91930 h 225993"/>
                  <a:gd name="connsiteX56" fmla="*/ 109907 w 223008"/>
                  <a:gd name="connsiteY56" fmla="*/ 195350 h 225993"/>
                  <a:gd name="connsiteX57" fmla="*/ 26838 w 223008"/>
                  <a:gd name="connsiteY57" fmla="*/ 112358 h 225993"/>
                  <a:gd name="connsiteX58" fmla="*/ 109907 w 223008"/>
                  <a:gd name="connsiteY58" fmla="*/ 29366 h 225993"/>
                  <a:gd name="connsiteX59" fmla="*/ 192976 w 223008"/>
                  <a:gd name="connsiteY59" fmla="*/ 112358 h 225993"/>
                  <a:gd name="connsiteX60" fmla="*/ 192976 w 223008"/>
                  <a:gd name="connsiteY60" fmla="*/ 112358 h 225993"/>
                  <a:gd name="connsiteX61" fmla="*/ 109907 w 223008"/>
                  <a:gd name="connsiteY61" fmla="*/ 195350 h 225993"/>
                  <a:gd name="connsiteX62" fmla="*/ 109907 w 223008"/>
                  <a:gd name="connsiteY62" fmla="*/ 195350 h 225993"/>
                  <a:gd name="connsiteX63" fmla="*/ 109907 w 223008"/>
                  <a:gd name="connsiteY63" fmla="*/ 195350 h 22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23008" h="225993">
                    <a:moveTo>
                      <a:pt x="200644" y="91930"/>
                    </a:moveTo>
                    <a:lnTo>
                      <a:pt x="192976" y="70224"/>
                    </a:lnTo>
                    <a:cubicBezTo>
                      <a:pt x="192337" y="68309"/>
                      <a:pt x="192337" y="66394"/>
                      <a:pt x="193615" y="64478"/>
                    </a:cubicBezTo>
                    <a:lnTo>
                      <a:pt x="203200" y="48518"/>
                    </a:lnTo>
                    <a:lnTo>
                      <a:pt x="189142" y="31920"/>
                    </a:lnTo>
                    <a:lnTo>
                      <a:pt x="171889" y="38942"/>
                    </a:lnTo>
                    <a:cubicBezTo>
                      <a:pt x="169972" y="39581"/>
                      <a:pt x="168055" y="39581"/>
                      <a:pt x="166138" y="38304"/>
                    </a:cubicBezTo>
                    <a:lnTo>
                      <a:pt x="146330" y="26813"/>
                    </a:lnTo>
                    <a:cubicBezTo>
                      <a:pt x="144413" y="25536"/>
                      <a:pt x="143774" y="24259"/>
                      <a:pt x="143135" y="22344"/>
                    </a:cubicBezTo>
                    <a:lnTo>
                      <a:pt x="139940" y="3830"/>
                    </a:lnTo>
                    <a:lnTo>
                      <a:pt x="118214" y="0"/>
                    </a:lnTo>
                    <a:lnTo>
                      <a:pt x="109268" y="16598"/>
                    </a:lnTo>
                    <a:cubicBezTo>
                      <a:pt x="108629" y="18514"/>
                      <a:pt x="106712" y="19790"/>
                      <a:pt x="104795" y="19790"/>
                    </a:cubicBezTo>
                    <a:lnTo>
                      <a:pt x="81791" y="23621"/>
                    </a:lnTo>
                    <a:cubicBezTo>
                      <a:pt x="79874" y="24259"/>
                      <a:pt x="77957" y="23621"/>
                      <a:pt x="76679" y="22344"/>
                    </a:cubicBezTo>
                    <a:lnTo>
                      <a:pt x="62621" y="10214"/>
                    </a:lnTo>
                    <a:lnTo>
                      <a:pt x="43451" y="21067"/>
                    </a:lnTo>
                    <a:lnTo>
                      <a:pt x="47285" y="39581"/>
                    </a:lnTo>
                    <a:cubicBezTo>
                      <a:pt x="47925" y="41496"/>
                      <a:pt x="47285" y="43411"/>
                      <a:pt x="46007" y="44688"/>
                    </a:cubicBezTo>
                    <a:lnTo>
                      <a:pt x="31311" y="62563"/>
                    </a:lnTo>
                    <a:cubicBezTo>
                      <a:pt x="30033" y="63840"/>
                      <a:pt x="28116" y="65117"/>
                      <a:pt x="26199" y="65117"/>
                    </a:cubicBezTo>
                    <a:lnTo>
                      <a:pt x="7668" y="64478"/>
                    </a:lnTo>
                    <a:lnTo>
                      <a:pt x="0" y="84907"/>
                    </a:lnTo>
                    <a:lnTo>
                      <a:pt x="14697" y="96398"/>
                    </a:lnTo>
                    <a:cubicBezTo>
                      <a:pt x="15975" y="97675"/>
                      <a:pt x="17253" y="99590"/>
                      <a:pt x="17253" y="101505"/>
                    </a:cubicBezTo>
                    <a:lnTo>
                      <a:pt x="17253" y="124488"/>
                    </a:lnTo>
                    <a:cubicBezTo>
                      <a:pt x="17253" y="126403"/>
                      <a:pt x="16614" y="128318"/>
                      <a:pt x="14697" y="129595"/>
                    </a:cubicBezTo>
                    <a:lnTo>
                      <a:pt x="0" y="141086"/>
                    </a:lnTo>
                    <a:lnTo>
                      <a:pt x="7668" y="161515"/>
                    </a:lnTo>
                    <a:lnTo>
                      <a:pt x="26199" y="160876"/>
                    </a:lnTo>
                    <a:cubicBezTo>
                      <a:pt x="28116" y="160876"/>
                      <a:pt x="30033" y="161515"/>
                      <a:pt x="31311" y="163430"/>
                    </a:cubicBezTo>
                    <a:lnTo>
                      <a:pt x="46007" y="181305"/>
                    </a:lnTo>
                    <a:cubicBezTo>
                      <a:pt x="47285" y="182582"/>
                      <a:pt x="47925" y="184497"/>
                      <a:pt x="47285" y="186412"/>
                    </a:cubicBezTo>
                    <a:lnTo>
                      <a:pt x="43451" y="204926"/>
                    </a:lnTo>
                    <a:lnTo>
                      <a:pt x="62621" y="215779"/>
                    </a:lnTo>
                    <a:lnTo>
                      <a:pt x="76679" y="203649"/>
                    </a:lnTo>
                    <a:cubicBezTo>
                      <a:pt x="77957" y="202372"/>
                      <a:pt x="79235" y="202372"/>
                      <a:pt x="81152" y="202372"/>
                    </a:cubicBezTo>
                    <a:lnTo>
                      <a:pt x="82430" y="202372"/>
                    </a:lnTo>
                    <a:lnTo>
                      <a:pt x="105434" y="206203"/>
                    </a:lnTo>
                    <a:cubicBezTo>
                      <a:pt x="107351" y="206203"/>
                      <a:pt x="109268" y="207479"/>
                      <a:pt x="109907" y="209395"/>
                    </a:cubicBezTo>
                    <a:lnTo>
                      <a:pt x="118853" y="225993"/>
                    </a:lnTo>
                    <a:lnTo>
                      <a:pt x="140579" y="222163"/>
                    </a:lnTo>
                    <a:lnTo>
                      <a:pt x="143774" y="203649"/>
                    </a:lnTo>
                    <a:cubicBezTo>
                      <a:pt x="143774" y="201734"/>
                      <a:pt x="145051" y="199819"/>
                      <a:pt x="146969" y="199180"/>
                    </a:cubicBezTo>
                    <a:lnTo>
                      <a:pt x="166777" y="187689"/>
                    </a:lnTo>
                    <a:cubicBezTo>
                      <a:pt x="168694" y="187051"/>
                      <a:pt x="170611" y="186412"/>
                      <a:pt x="172528" y="187051"/>
                    </a:cubicBezTo>
                    <a:lnTo>
                      <a:pt x="189781" y="194073"/>
                    </a:lnTo>
                    <a:lnTo>
                      <a:pt x="203839" y="177475"/>
                    </a:lnTo>
                    <a:lnTo>
                      <a:pt x="194254" y="161515"/>
                    </a:lnTo>
                    <a:cubicBezTo>
                      <a:pt x="192976" y="159600"/>
                      <a:pt x="192976" y="157684"/>
                      <a:pt x="193615" y="155769"/>
                    </a:cubicBezTo>
                    <a:lnTo>
                      <a:pt x="201283" y="134064"/>
                    </a:lnTo>
                    <a:cubicBezTo>
                      <a:pt x="201922" y="132149"/>
                      <a:pt x="203200" y="130872"/>
                      <a:pt x="205117" y="130233"/>
                    </a:cubicBezTo>
                    <a:lnTo>
                      <a:pt x="223009" y="124488"/>
                    </a:lnTo>
                    <a:lnTo>
                      <a:pt x="223009" y="102782"/>
                    </a:lnTo>
                    <a:lnTo>
                      <a:pt x="205117" y="96398"/>
                    </a:lnTo>
                    <a:cubicBezTo>
                      <a:pt x="202561" y="94483"/>
                      <a:pt x="201283" y="93206"/>
                      <a:pt x="200644" y="91930"/>
                    </a:cubicBezTo>
                    <a:close/>
                    <a:moveTo>
                      <a:pt x="109907" y="195350"/>
                    </a:moveTo>
                    <a:cubicBezTo>
                      <a:pt x="63899" y="195350"/>
                      <a:pt x="26838" y="158323"/>
                      <a:pt x="26838" y="112358"/>
                    </a:cubicBezTo>
                    <a:cubicBezTo>
                      <a:pt x="26838" y="66394"/>
                      <a:pt x="63899" y="29366"/>
                      <a:pt x="109907" y="29366"/>
                    </a:cubicBezTo>
                    <a:cubicBezTo>
                      <a:pt x="155914" y="29366"/>
                      <a:pt x="192976" y="66394"/>
                      <a:pt x="192976" y="112358"/>
                    </a:cubicBezTo>
                    <a:lnTo>
                      <a:pt x="192976" y="112358"/>
                    </a:lnTo>
                    <a:cubicBezTo>
                      <a:pt x="192976" y="158323"/>
                      <a:pt x="155914" y="195350"/>
                      <a:pt x="109907" y="195350"/>
                    </a:cubicBezTo>
                    <a:cubicBezTo>
                      <a:pt x="109907" y="195350"/>
                      <a:pt x="109268" y="195350"/>
                      <a:pt x="109907" y="195350"/>
                    </a:cubicBezTo>
                    <a:lnTo>
                      <a:pt x="109907" y="195350"/>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6" name="Group 45">
            <a:extLst>
              <a:ext uri="{FF2B5EF4-FFF2-40B4-BE49-F238E27FC236}">
                <a16:creationId xmlns:a16="http://schemas.microsoft.com/office/drawing/2014/main" id="{1DF2EF4B-3DFB-EA37-B5A6-4D21FABE74B7}"/>
              </a:ext>
            </a:extLst>
          </p:cNvPr>
          <p:cNvGrpSpPr/>
          <p:nvPr/>
        </p:nvGrpSpPr>
        <p:grpSpPr>
          <a:xfrm>
            <a:off x="7333605" y="1943759"/>
            <a:ext cx="2316456" cy="3360426"/>
            <a:chOff x="270645" y="1943759"/>
            <a:chExt cx="2316456" cy="3360426"/>
          </a:xfrm>
        </p:grpSpPr>
        <p:sp>
          <p:nvSpPr>
            <p:cNvPr id="3" name="TextBox 2">
              <a:extLst>
                <a:ext uri="{FF2B5EF4-FFF2-40B4-BE49-F238E27FC236}">
                  <a16:creationId xmlns:a16="http://schemas.microsoft.com/office/drawing/2014/main" id="{D547ADDA-D99A-935A-9137-2AA68F113B39}"/>
                </a:ext>
              </a:extLst>
            </p:cNvPr>
            <p:cNvSpPr txBox="1"/>
            <p:nvPr/>
          </p:nvSpPr>
          <p:spPr>
            <a:xfrm>
              <a:off x="270645" y="3057709"/>
              <a:ext cx="2316456" cy="646331"/>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Metadata Management</a:t>
              </a:r>
            </a:p>
          </p:txBody>
        </p:sp>
        <p:sp>
          <p:nvSpPr>
            <p:cNvPr id="9" name="TextBox 8">
              <a:extLst>
                <a:ext uri="{FF2B5EF4-FFF2-40B4-BE49-F238E27FC236}">
                  <a16:creationId xmlns:a16="http://schemas.microsoft.com/office/drawing/2014/main" id="{E09550DF-6F48-B1CF-5BF8-BA3F653E16BC}"/>
                </a:ext>
              </a:extLst>
            </p:cNvPr>
            <p:cNvSpPr txBox="1"/>
            <p:nvPr/>
          </p:nvSpPr>
          <p:spPr>
            <a:xfrm>
              <a:off x="534914" y="3734525"/>
              <a:ext cx="1787918" cy="1569660"/>
            </a:xfrm>
            <a:prstGeom prst="rect">
              <a:avLst/>
            </a:prstGeom>
            <a:noFill/>
          </p:spPr>
          <p:txBody>
            <a:bodyPr wrap="square">
              <a:spAutoFit/>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Allows organizations to achieve more efficient, accurate, and scalable metadata management, ultimately leading to better data utilization and decision-making.</a:t>
              </a:r>
            </a:p>
          </p:txBody>
        </p:sp>
        <p:grpSp>
          <p:nvGrpSpPr>
            <p:cNvPr id="37" name="Graphic 1100">
              <a:extLst>
                <a:ext uri="{FF2B5EF4-FFF2-40B4-BE49-F238E27FC236}">
                  <a16:creationId xmlns:a16="http://schemas.microsoft.com/office/drawing/2014/main" id="{4EC4241A-51B7-3424-F4FA-9FD8EF3A6C3C}"/>
                </a:ext>
              </a:extLst>
            </p:cNvPr>
            <p:cNvGrpSpPr/>
            <p:nvPr/>
          </p:nvGrpSpPr>
          <p:grpSpPr>
            <a:xfrm>
              <a:off x="967230" y="1943759"/>
              <a:ext cx="923286" cy="921062"/>
              <a:chOff x="6147119" y="4312706"/>
              <a:chExt cx="362309" cy="361971"/>
            </a:xfrm>
            <a:solidFill>
              <a:schemeClr val="accent1"/>
            </a:solidFill>
          </p:grpSpPr>
          <p:sp>
            <p:nvSpPr>
              <p:cNvPr id="38" name="Graphic 1100">
                <a:extLst>
                  <a:ext uri="{FF2B5EF4-FFF2-40B4-BE49-F238E27FC236}">
                    <a16:creationId xmlns:a16="http://schemas.microsoft.com/office/drawing/2014/main" id="{37109170-4430-3142-3776-0BB7FCC9651B}"/>
                  </a:ext>
                </a:extLst>
              </p:cNvPr>
              <p:cNvSpPr/>
              <p:nvPr/>
            </p:nvSpPr>
            <p:spPr>
              <a:xfrm>
                <a:off x="6294088" y="4511886"/>
                <a:ext cx="14057" cy="14044"/>
              </a:xfrm>
              <a:custGeom>
                <a:avLst/>
                <a:gdLst>
                  <a:gd name="connsiteX0" fmla="*/ 0 w 14057"/>
                  <a:gd name="connsiteY0" fmla="*/ 10853 h 14044"/>
                  <a:gd name="connsiteX1" fmla="*/ 14058 w 14057"/>
                  <a:gd name="connsiteY1" fmla="*/ 14045 h 14044"/>
                  <a:gd name="connsiteX2" fmla="*/ 10863 w 14057"/>
                  <a:gd name="connsiteY2" fmla="*/ 0 h 14044"/>
                </a:gdLst>
                <a:ahLst/>
                <a:cxnLst>
                  <a:cxn ang="0">
                    <a:pos x="connsiteX0" y="connsiteY0"/>
                  </a:cxn>
                  <a:cxn ang="0">
                    <a:pos x="connsiteX1" y="connsiteY1"/>
                  </a:cxn>
                  <a:cxn ang="0">
                    <a:pos x="connsiteX2" y="connsiteY2"/>
                  </a:cxn>
                </a:cxnLst>
                <a:rect l="l" t="t" r="r" b="b"/>
                <a:pathLst>
                  <a:path w="14057" h="14044">
                    <a:moveTo>
                      <a:pt x="0" y="10853"/>
                    </a:moveTo>
                    <a:lnTo>
                      <a:pt x="14058" y="14045"/>
                    </a:lnTo>
                    <a:lnTo>
                      <a:pt x="10863" y="0"/>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9" name="Graphic 1100">
                <a:extLst>
                  <a:ext uri="{FF2B5EF4-FFF2-40B4-BE49-F238E27FC236}">
                    <a16:creationId xmlns:a16="http://schemas.microsoft.com/office/drawing/2014/main" id="{53AB500C-8F74-02F1-5683-3CD0F89DC1A7}"/>
                  </a:ext>
                </a:extLst>
              </p:cNvPr>
              <p:cNvSpPr/>
              <p:nvPr/>
            </p:nvSpPr>
            <p:spPr>
              <a:xfrm>
                <a:off x="6147119" y="431270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69011 w 362309"/>
                  <a:gd name="connsiteY7" fmla="*/ 143640 h 361971"/>
                  <a:gd name="connsiteX8" fmla="*/ 92015 w 362309"/>
                  <a:gd name="connsiteY8" fmla="*/ 120657 h 361971"/>
                  <a:gd name="connsiteX9" fmla="*/ 100961 w 362309"/>
                  <a:gd name="connsiteY9" fmla="*/ 120657 h 361971"/>
                  <a:gd name="connsiteX10" fmla="*/ 166777 w 362309"/>
                  <a:gd name="connsiteY10" fmla="*/ 186412 h 361971"/>
                  <a:gd name="connsiteX11" fmla="*/ 168695 w 362309"/>
                  <a:gd name="connsiteY11" fmla="*/ 189604 h 361971"/>
                  <a:gd name="connsiteX12" fmla="*/ 176362 w 362309"/>
                  <a:gd name="connsiteY12" fmla="*/ 220247 h 361971"/>
                  <a:gd name="connsiteX13" fmla="*/ 171889 w 362309"/>
                  <a:gd name="connsiteY13" fmla="*/ 227908 h 361971"/>
                  <a:gd name="connsiteX14" fmla="*/ 168695 w 362309"/>
                  <a:gd name="connsiteY14" fmla="*/ 227908 h 361971"/>
                  <a:gd name="connsiteX15" fmla="*/ 138662 w 362309"/>
                  <a:gd name="connsiteY15" fmla="*/ 220247 h 361971"/>
                  <a:gd name="connsiteX16" fmla="*/ 135467 w 362309"/>
                  <a:gd name="connsiteY16" fmla="*/ 218332 h 361971"/>
                  <a:gd name="connsiteX17" fmla="*/ 69011 w 362309"/>
                  <a:gd name="connsiteY17" fmla="*/ 151939 h 361971"/>
                  <a:gd name="connsiteX18" fmla="*/ 69011 w 362309"/>
                  <a:gd name="connsiteY18" fmla="*/ 143640 h 361971"/>
                  <a:gd name="connsiteX19" fmla="*/ 69011 w 362309"/>
                  <a:gd name="connsiteY19" fmla="*/ 143640 h 361971"/>
                  <a:gd name="connsiteX20" fmla="*/ 223648 w 362309"/>
                  <a:gd name="connsiteY20" fmla="*/ 198542 h 361971"/>
                  <a:gd name="connsiteX21" fmla="*/ 189781 w 362309"/>
                  <a:gd name="connsiteY21" fmla="*/ 198542 h 361971"/>
                  <a:gd name="connsiteX22" fmla="*/ 183391 w 362309"/>
                  <a:gd name="connsiteY22" fmla="*/ 192158 h 361971"/>
                  <a:gd name="connsiteX23" fmla="*/ 189781 w 362309"/>
                  <a:gd name="connsiteY23" fmla="*/ 185774 h 361971"/>
                  <a:gd name="connsiteX24" fmla="*/ 223648 w 362309"/>
                  <a:gd name="connsiteY24" fmla="*/ 185774 h 361971"/>
                  <a:gd name="connsiteX25" fmla="*/ 230038 w 362309"/>
                  <a:gd name="connsiteY25" fmla="*/ 192158 h 361971"/>
                  <a:gd name="connsiteX26" fmla="*/ 223648 w 362309"/>
                  <a:gd name="connsiteY26" fmla="*/ 198542 h 361971"/>
                  <a:gd name="connsiteX27" fmla="*/ 223648 w 362309"/>
                  <a:gd name="connsiteY27" fmla="*/ 198542 h 361971"/>
                  <a:gd name="connsiteX28" fmla="*/ 228121 w 362309"/>
                  <a:gd name="connsiteY28" fmla="*/ 222163 h 361971"/>
                  <a:gd name="connsiteX29" fmla="*/ 221731 w 362309"/>
                  <a:gd name="connsiteY29" fmla="*/ 228546 h 361971"/>
                  <a:gd name="connsiteX30" fmla="*/ 198088 w 362309"/>
                  <a:gd name="connsiteY30" fmla="*/ 228546 h 361971"/>
                  <a:gd name="connsiteX31" fmla="*/ 191698 w 362309"/>
                  <a:gd name="connsiteY31" fmla="*/ 222163 h 361971"/>
                  <a:gd name="connsiteX32" fmla="*/ 198088 w 362309"/>
                  <a:gd name="connsiteY32" fmla="*/ 215779 h 361971"/>
                  <a:gd name="connsiteX33" fmla="*/ 221731 w 362309"/>
                  <a:gd name="connsiteY33" fmla="*/ 215779 h 361971"/>
                  <a:gd name="connsiteX34" fmla="*/ 228121 w 362309"/>
                  <a:gd name="connsiteY34" fmla="*/ 222163 h 361971"/>
                  <a:gd name="connsiteX35" fmla="*/ 228121 w 362309"/>
                  <a:gd name="connsiteY35" fmla="*/ 222163 h 361971"/>
                  <a:gd name="connsiteX36" fmla="*/ 228121 w 362309"/>
                  <a:gd name="connsiteY36" fmla="*/ 222163 h 361971"/>
                  <a:gd name="connsiteX37" fmla="*/ 223648 w 362309"/>
                  <a:gd name="connsiteY37" fmla="*/ 169176 h 361971"/>
                  <a:gd name="connsiteX38" fmla="*/ 177001 w 362309"/>
                  <a:gd name="connsiteY38" fmla="*/ 169176 h 361971"/>
                  <a:gd name="connsiteX39" fmla="*/ 170611 w 362309"/>
                  <a:gd name="connsiteY39" fmla="*/ 162792 h 361971"/>
                  <a:gd name="connsiteX40" fmla="*/ 177001 w 362309"/>
                  <a:gd name="connsiteY40" fmla="*/ 156408 h 361971"/>
                  <a:gd name="connsiteX41" fmla="*/ 223648 w 362309"/>
                  <a:gd name="connsiteY41" fmla="*/ 156408 h 361971"/>
                  <a:gd name="connsiteX42" fmla="*/ 230038 w 362309"/>
                  <a:gd name="connsiteY42" fmla="*/ 162792 h 361971"/>
                  <a:gd name="connsiteX43" fmla="*/ 223648 w 362309"/>
                  <a:gd name="connsiteY43" fmla="*/ 169176 h 361971"/>
                  <a:gd name="connsiteX44" fmla="*/ 223648 w 362309"/>
                  <a:gd name="connsiteY44" fmla="*/ 169176 h 361971"/>
                  <a:gd name="connsiteX45" fmla="*/ 270294 w 362309"/>
                  <a:gd name="connsiteY45" fmla="*/ 284087 h 361971"/>
                  <a:gd name="connsiteX46" fmla="*/ 263904 w 362309"/>
                  <a:gd name="connsiteY46" fmla="*/ 290471 h 361971"/>
                  <a:gd name="connsiteX47" fmla="*/ 116297 w 362309"/>
                  <a:gd name="connsiteY47" fmla="*/ 290471 h 361971"/>
                  <a:gd name="connsiteX48" fmla="*/ 109907 w 362309"/>
                  <a:gd name="connsiteY48" fmla="*/ 284087 h 361971"/>
                  <a:gd name="connsiteX49" fmla="*/ 109907 w 362309"/>
                  <a:gd name="connsiteY49" fmla="*/ 221524 h 361971"/>
                  <a:gd name="connsiteX50" fmla="*/ 116297 w 362309"/>
                  <a:gd name="connsiteY50" fmla="*/ 215140 h 361971"/>
                  <a:gd name="connsiteX51" fmla="*/ 122687 w 362309"/>
                  <a:gd name="connsiteY51" fmla="*/ 221524 h 361971"/>
                  <a:gd name="connsiteX52" fmla="*/ 122687 w 362309"/>
                  <a:gd name="connsiteY52" fmla="*/ 277703 h 361971"/>
                  <a:gd name="connsiteX53" fmla="*/ 257514 w 362309"/>
                  <a:gd name="connsiteY53" fmla="*/ 277703 h 361971"/>
                  <a:gd name="connsiteX54" fmla="*/ 257514 w 362309"/>
                  <a:gd name="connsiteY54" fmla="*/ 127680 h 361971"/>
                  <a:gd name="connsiteX55" fmla="*/ 220453 w 362309"/>
                  <a:gd name="connsiteY55" fmla="*/ 127680 h 361971"/>
                  <a:gd name="connsiteX56" fmla="*/ 214063 w 362309"/>
                  <a:gd name="connsiteY56" fmla="*/ 121296 h 361971"/>
                  <a:gd name="connsiteX57" fmla="*/ 214063 w 362309"/>
                  <a:gd name="connsiteY57" fmla="*/ 84269 h 361971"/>
                  <a:gd name="connsiteX58" fmla="*/ 122048 w 362309"/>
                  <a:gd name="connsiteY58" fmla="*/ 84269 h 361971"/>
                  <a:gd name="connsiteX59" fmla="*/ 122048 w 362309"/>
                  <a:gd name="connsiteY59" fmla="*/ 112358 h 361971"/>
                  <a:gd name="connsiteX60" fmla="*/ 115658 w 362309"/>
                  <a:gd name="connsiteY60" fmla="*/ 118742 h 361971"/>
                  <a:gd name="connsiteX61" fmla="*/ 109268 w 362309"/>
                  <a:gd name="connsiteY61" fmla="*/ 112358 h 361971"/>
                  <a:gd name="connsiteX62" fmla="*/ 109268 w 362309"/>
                  <a:gd name="connsiteY62" fmla="*/ 77885 h 361971"/>
                  <a:gd name="connsiteX63" fmla="*/ 115658 w 362309"/>
                  <a:gd name="connsiteY63" fmla="*/ 71501 h 361971"/>
                  <a:gd name="connsiteX64" fmla="*/ 220453 w 362309"/>
                  <a:gd name="connsiteY64" fmla="*/ 71501 h 361971"/>
                  <a:gd name="connsiteX65" fmla="*/ 222370 w 362309"/>
                  <a:gd name="connsiteY65" fmla="*/ 72139 h 361971"/>
                  <a:gd name="connsiteX66" fmla="*/ 224287 w 362309"/>
                  <a:gd name="connsiteY66" fmla="*/ 73416 h 361971"/>
                  <a:gd name="connsiteX67" fmla="*/ 267739 w 362309"/>
                  <a:gd name="connsiteY67" fmla="*/ 116827 h 361971"/>
                  <a:gd name="connsiteX68" fmla="*/ 269016 w 362309"/>
                  <a:gd name="connsiteY68" fmla="*/ 118742 h 361971"/>
                  <a:gd name="connsiteX69" fmla="*/ 269655 w 362309"/>
                  <a:gd name="connsiteY69" fmla="*/ 121296 h 361971"/>
                  <a:gd name="connsiteX70" fmla="*/ 270294 w 362309"/>
                  <a:gd name="connsiteY70" fmla="*/ 28408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157" y="0"/>
                      <a:pt x="181474" y="0"/>
                    </a:cubicBezTo>
                    <a:lnTo>
                      <a:pt x="181474" y="0"/>
                    </a:lnTo>
                    <a:close/>
                    <a:moveTo>
                      <a:pt x="69011" y="143640"/>
                    </a:moveTo>
                    <a:lnTo>
                      <a:pt x="92015" y="120657"/>
                    </a:lnTo>
                    <a:cubicBezTo>
                      <a:pt x="94571" y="118104"/>
                      <a:pt x="98405" y="118104"/>
                      <a:pt x="100961" y="120657"/>
                    </a:cubicBezTo>
                    <a:lnTo>
                      <a:pt x="166777" y="186412"/>
                    </a:lnTo>
                    <a:cubicBezTo>
                      <a:pt x="167416" y="187051"/>
                      <a:pt x="168055" y="188327"/>
                      <a:pt x="168695" y="189604"/>
                    </a:cubicBezTo>
                    <a:lnTo>
                      <a:pt x="176362" y="220247"/>
                    </a:lnTo>
                    <a:cubicBezTo>
                      <a:pt x="177001" y="223439"/>
                      <a:pt x="175084" y="227270"/>
                      <a:pt x="171889" y="227908"/>
                    </a:cubicBezTo>
                    <a:cubicBezTo>
                      <a:pt x="170611" y="227908"/>
                      <a:pt x="169972" y="227908"/>
                      <a:pt x="168695" y="227908"/>
                    </a:cubicBezTo>
                    <a:lnTo>
                      <a:pt x="138662" y="220247"/>
                    </a:lnTo>
                    <a:cubicBezTo>
                      <a:pt x="137384" y="220247"/>
                      <a:pt x="136745" y="219609"/>
                      <a:pt x="135467" y="218332"/>
                    </a:cubicBezTo>
                    <a:lnTo>
                      <a:pt x="69011" y="151939"/>
                    </a:lnTo>
                    <a:cubicBezTo>
                      <a:pt x="66456" y="150662"/>
                      <a:pt x="66456" y="146193"/>
                      <a:pt x="69011" y="143640"/>
                    </a:cubicBezTo>
                    <a:cubicBezTo>
                      <a:pt x="69011" y="144278"/>
                      <a:pt x="69011" y="144278"/>
                      <a:pt x="69011" y="143640"/>
                    </a:cubicBezTo>
                    <a:close/>
                    <a:moveTo>
                      <a:pt x="223648" y="198542"/>
                    </a:moveTo>
                    <a:lnTo>
                      <a:pt x="189781" y="198542"/>
                    </a:lnTo>
                    <a:cubicBezTo>
                      <a:pt x="185947" y="198542"/>
                      <a:pt x="183391" y="195988"/>
                      <a:pt x="183391" y="192158"/>
                    </a:cubicBezTo>
                    <a:cubicBezTo>
                      <a:pt x="183391" y="188327"/>
                      <a:pt x="185947" y="185774"/>
                      <a:pt x="189781" y="185774"/>
                    </a:cubicBezTo>
                    <a:lnTo>
                      <a:pt x="223648" y="185774"/>
                    </a:lnTo>
                    <a:cubicBezTo>
                      <a:pt x="227482" y="185774"/>
                      <a:pt x="230038" y="188327"/>
                      <a:pt x="230038" y="192158"/>
                    </a:cubicBezTo>
                    <a:cubicBezTo>
                      <a:pt x="230038" y="195988"/>
                      <a:pt x="227482" y="198542"/>
                      <a:pt x="223648" y="198542"/>
                    </a:cubicBezTo>
                    <a:lnTo>
                      <a:pt x="223648" y="198542"/>
                    </a:lnTo>
                    <a:close/>
                    <a:moveTo>
                      <a:pt x="228121" y="222163"/>
                    </a:moveTo>
                    <a:cubicBezTo>
                      <a:pt x="228121" y="225993"/>
                      <a:pt x="225565" y="228546"/>
                      <a:pt x="221731" y="228546"/>
                    </a:cubicBezTo>
                    <a:lnTo>
                      <a:pt x="198088" y="228546"/>
                    </a:lnTo>
                    <a:cubicBezTo>
                      <a:pt x="194254" y="228546"/>
                      <a:pt x="191698" y="225993"/>
                      <a:pt x="191698" y="222163"/>
                    </a:cubicBezTo>
                    <a:cubicBezTo>
                      <a:pt x="191698" y="218332"/>
                      <a:pt x="194254" y="215779"/>
                      <a:pt x="198088" y="215779"/>
                    </a:cubicBezTo>
                    <a:lnTo>
                      <a:pt x="221731" y="215779"/>
                    </a:lnTo>
                    <a:cubicBezTo>
                      <a:pt x="224926" y="215779"/>
                      <a:pt x="228121" y="218332"/>
                      <a:pt x="228121" y="222163"/>
                    </a:cubicBezTo>
                    <a:cubicBezTo>
                      <a:pt x="228121" y="222163"/>
                      <a:pt x="228121" y="222163"/>
                      <a:pt x="228121" y="222163"/>
                    </a:cubicBezTo>
                    <a:lnTo>
                      <a:pt x="228121" y="222163"/>
                    </a:lnTo>
                    <a:close/>
                    <a:moveTo>
                      <a:pt x="223648" y="169176"/>
                    </a:moveTo>
                    <a:lnTo>
                      <a:pt x="177001" y="169176"/>
                    </a:lnTo>
                    <a:cubicBezTo>
                      <a:pt x="173167" y="169176"/>
                      <a:pt x="170611" y="166622"/>
                      <a:pt x="170611" y="162792"/>
                    </a:cubicBezTo>
                    <a:cubicBezTo>
                      <a:pt x="170611" y="158961"/>
                      <a:pt x="173167" y="156408"/>
                      <a:pt x="177001" y="156408"/>
                    </a:cubicBezTo>
                    <a:lnTo>
                      <a:pt x="223648" y="156408"/>
                    </a:lnTo>
                    <a:cubicBezTo>
                      <a:pt x="227482" y="156408"/>
                      <a:pt x="230038" y="158961"/>
                      <a:pt x="230038" y="162792"/>
                    </a:cubicBezTo>
                    <a:cubicBezTo>
                      <a:pt x="230038" y="166622"/>
                      <a:pt x="227482" y="169176"/>
                      <a:pt x="223648" y="169176"/>
                    </a:cubicBezTo>
                    <a:lnTo>
                      <a:pt x="223648" y="169176"/>
                    </a:lnTo>
                    <a:close/>
                    <a:moveTo>
                      <a:pt x="270294" y="284087"/>
                    </a:moveTo>
                    <a:cubicBezTo>
                      <a:pt x="270294" y="287918"/>
                      <a:pt x="267739" y="290471"/>
                      <a:pt x="263904" y="290471"/>
                    </a:cubicBezTo>
                    <a:lnTo>
                      <a:pt x="116297" y="290471"/>
                    </a:lnTo>
                    <a:cubicBezTo>
                      <a:pt x="112463" y="290471"/>
                      <a:pt x="109907" y="287918"/>
                      <a:pt x="109907" y="284087"/>
                    </a:cubicBezTo>
                    <a:lnTo>
                      <a:pt x="109907" y="221524"/>
                    </a:lnTo>
                    <a:cubicBezTo>
                      <a:pt x="109907" y="217694"/>
                      <a:pt x="112463" y="215140"/>
                      <a:pt x="116297" y="215140"/>
                    </a:cubicBezTo>
                    <a:cubicBezTo>
                      <a:pt x="120131" y="215140"/>
                      <a:pt x="122687" y="217694"/>
                      <a:pt x="122687" y="221524"/>
                    </a:cubicBezTo>
                    <a:lnTo>
                      <a:pt x="122687" y="277703"/>
                    </a:lnTo>
                    <a:lnTo>
                      <a:pt x="257514" y="277703"/>
                    </a:lnTo>
                    <a:lnTo>
                      <a:pt x="257514" y="127680"/>
                    </a:lnTo>
                    <a:lnTo>
                      <a:pt x="220453" y="127680"/>
                    </a:lnTo>
                    <a:cubicBezTo>
                      <a:pt x="216619" y="127680"/>
                      <a:pt x="214063" y="125126"/>
                      <a:pt x="214063" y="121296"/>
                    </a:cubicBezTo>
                    <a:lnTo>
                      <a:pt x="214063" y="84269"/>
                    </a:lnTo>
                    <a:lnTo>
                      <a:pt x="122048" y="84269"/>
                    </a:lnTo>
                    <a:lnTo>
                      <a:pt x="122048" y="112358"/>
                    </a:lnTo>
                    <a:cubicBezTo>
                      <a:pt x="122048" y="116189"/>
                      <a:pt x="119492" y="118742"/>
                      <a:pt x="115658" y="118742"/>
                    </a:cubicBezTo>
                    <a:cubicBezTo>
                      <a:pt x="111824" y="118742"/>
                      <a:pt x="109268" y="116189"/>
                      <a:pt x="109268" y="112358"/>
                    </a:cubicBezTo>
                    <a:lnTo>
                      <a:pt x="109268" y="77885"/>
                    </a:lnTo>
                    <a:cubicBezTo>
                      <a:pt x="109268" y="74054"/>
                      <a:pt x="111824" y="71501"/>
                      <a:pt x="115658" y="71501"/>
                    </a:cubicBezTo>
                    <a:lnTo>
                      <a:pt x="220453" y="71501"/>
                    </a:lnTo>
                    <a:cubicBezTo>
                      <a:pt x="221092" y="71501"/>
                      <a:pt x="221731" y="71501"/>
                      <a:pt x="222370" y="72139"/>
                    </a:cubicBezTo>
                    <a:cubicBezTo>
                      <a:pt x="223009" y="72139"/>
                      <a:pt x="223648" y="72778"/>
                      <a:pt x="224287" y="73416"/>
                    </a:cubicBezTo>
                    <a:lnTo>
                      <a:pt x="267739" y="116827"/>
                    </a:lnTo>
                    <a:cubicBezTo>
                      <a:pt x="268377" y="117465"/>
                      <a:pt x="269016" y="118104"/>
                      <a:pt x="269016" y="118742"/>
                    </a:cubicBezTo>
                    <a:cubicBezTo>
                      <a:pt x="269655" y="119381"/>
                      <a:pt x="269655" y="120657"/>
                      <a:pt x="269655" y="121296"/>
                    </a:cubicBezTo>
                    <a:lnTo>
                      <a:pt x="270294" y="284087"/>
                    </a:lnTo>
                    <a:close/>
                  </a:path>
                </a:pathLst>
              </a:custGeom>
              <a:solidFill>
                <a:schemeClr val="accent6">
                  <a:lumMod val="100000"/>
                </a:schemeClr>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0" name="Graphic 1100">
                <a:extLst>
                  <a:ext uri="{FF2B5EF4-FFF2-40B4-BE49-F238E27FC236}">
                    <a16:creationId xmlns:a16="http://schemas.microsoft.com/office/drawing/2014/main" id="{7A97118D-180D-A083-6599-778F53C243FA}"/>
                  </a:ext>
                </a:extLst>
              </p:cNvPr>
              <p:cNvSpPr/>
              <p:nvPr/>
            </p:nvSpPr>
            <p:spPr>
              <a:xfrm rot="-2700000">
                <a:off x="6253559" y="4442836"/>
                <a:ext cx="19808" cy="75968"/>
              </a:xfrm>
              <a:custGeom>
                <a:avLst/>
                <a:gdLst>
                  <a:gd name="connsiteX0" fmla="*/ 0 w 19808"/>
                  <a:gd name="connsiteY0" fmla="*/ 0 h 75968"/>
                  <a:gd name="connsiteX1" fmla="*/ 19808 w 19808"/>
                  <a:gd name="connsiteY1" fmla="*/ 0 h 75968"/>
                  <a:gd name="connsiteX2" fmla="*/ 19808 w 19808"/>
                  <a:gd name="connsiteY2" fmla="*/ 75969 h 75968"/>
                  <a:gd name="connsiteX3" fmla="*/ 0 w 19808"/>
                  <a:gd name="connsiteY3" fmla="*/ 75969 h 75968"/>
                </a:gdLst>
                <a:ahLst/>
                <a:cxnLst>
                  <a:cxn ang="0">
                    <a:pos x="connsiteX0" y="connsiteY0"/>
                  </a:cxn>
                  <a:cxn ang="0">
                    <a:pos x="connsiteX1" y="connsiteY1"/>
                  </a:cxn>
                  <a:cxn ang="0">
                    <a:pos x="connsiteX2" y="connsiteY2"/>
                  </a:cxn>
                  <a:cxn ang="0">
                    <a:pos x="connsiteX3" y="connsiteY3"/>
                  </a:cxn>
                </a:cxnLst>
                <a:rect l="l" t="t" r="r" b="b"/>
                <a:pathLst>
                  <a:path w="19808" h="75968">
                    <a:moveTo>
                      <a:pt x="0" y="0"/>
                    </a:moveTo>
                    <a:lnTo>
                      <a:pt x="19808" y="0"/>
                    </a:lnTo>
                    <a:lnTo>
                      <a:pt x="19808" y="75969"/>
                    </a:lnTo>
                    <a:lnTo>
                      <a:pt x="0" y="75969"/>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1" name="Graphic 1100">
                <a:extLst>
                  <a:ext uri="{FF2B5EF4-FFF2-40B4-BE49-F238E27FC236}">
                    <a16:creationId xmlns:a16="http://schemas.microsoft.com/office/drawing/2014/main" id="{B764351F-466B-564D-7F0D-A3874986EE91}"/>
                  </a:ext>
                </a:extLst>
              </p:cNvPr>
              <p:cNvSpPr/>
              <p:nvPr/>
            </p:nvSpPr>
            <p:spPr>
              <a:xfrm>
                <a:off x="6373962" y="4405912"/>
                <a:ext cx="21086" cy="21705"/>
              </a:xfrm>
              <a:custGeom>
                <a:avLst/>
                <a:gdLst>
                  <a:gd name="connsiteX0" fmla="*/ 0 w 21086"/>
                  <a:gd name="connsiteY0" fmla="*/ 0 h 21705"/>
                  <a:gd name="connsiteX1" fmla="*/ 0 w 21086"/>
                  <a:gd name="connsiteY1" fmla="*/ 21705 h 21705"/>
                  <a:gd name="connsiteX2" fmla="*/ 21087 w 21086"/>
                  <a:gd name="connsiteY2" fmla="*/ 21705 h 21705"/>
                </a:gdLst>
                <a:ahLst/>
                <a:cxnLst>
                  <a:cxn ang="0">
                    <a:pos x="connsiteX0" y="connsiteY0"/>
                  </a:cxn>
                  <a:cxn ang="0">
                    <a:pos x="connsiteX1" y="connsiteY1"/>
                  </a:cxn>
                  <a:cxn ang="0">
                    <a:pos x="connsiteX2" y="connsiteY2"/>
                  </a:cxn>
                </a:cxnLst>
                <a:rect l="l" t="t" r="r" b="b"/>
                <a:pathLst>
                  <a:path w="21086" h="21705">
                    <a:moveTo>
                      <a:pt x="0" y="0"/>
                    </a:moveTo>
                    <a:lnTo>
                      <a:pt x="0" y="21705"/>
                    </a:lnTo>
                    <a:lnTo>
                      <a:pt x="21087" y="21705"/>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3" name="Group 42">
            <a:extLst>
              <a:ext uri="{FF2B5EF4-FFF2-40B4-BE49-F238E27FC236}">
                <a16:creationId xmlns:a16="http://schemas.microsoft.com/office/drawing/2014/main" id="{D8297FC0-BC78-634B-8A9D-3D470076DA08}"/>
              </a:ext>
            </a:extLst>
          </p:cNvPr>
          <p:cNvGrpSpPr/>
          <p:nvPr/>
        </p:nvGrpSpPr>
        <p:grpSpPr>
          <a:xfrm>
            <a:off x="259956" y="1943759"/>
            <a:ext cx="2041864" cy="3914424"/>
            <a:chOff x="6847360" y="1943759"/>
            <a:chExt cx="2041864" cy="3914424"/>
          </a:xfrm>
        </p:grpSpPr>
        <p:sp>
          <p:nvSpPr>
            <p:cNvPr id="6" name="TextBox 5">
              <a:extLst>
                <a:ext uri="{FF2B5EF4-FFF2-40B4-BE49-F238E27FC236}">
                  <a16:creationId xmlns:a16="http://schemas.microsoft.com/office/drawing/2014/main" id="{B3FF990D-353C-B138-9060-D33A4409543B}"/>
                </a:ext>
              </a:extLst>
            </p:cNvPr>
            <p:cNvSpPr txBox="1"/>
            <p:nvPr/>
          </p:nvSpPr>
          <p:spPr>
            <a:xfrm>
              <a:off x="6847360" y="3057709"/>
              <a:ext cx="2041864" cy="646331"/>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Data Governance</a:t>
              </a:r>
            </a:p>
          </p:txBody>
        </p:sp>
        <p:sp>
          <p:nvSpPr>
            <p:cNvPr id="12" name="TextBox 11">
              <a:extLst>
                <a:ext uri="{FF2B5EF4-FFF2-40B4-BE49-F238E27FC236}">
                  <a16:creationId xmlns:a16="http://schemas.microsoft.com/office/drawing/2014/main" id="{142B6CCD-C75A-75D4-D2B4-10F04AB5F053}"/>
                </a:ext>
              </a:extLst>
            </p:cNvPr>
            <p:cNvSpPr txBox="1"/>
            <p:nvPr/>
          </p:nvSpPr>
          <p:spPr>
            <a:xfrm>
              <a:off x="6914174" y="3734525"/>
              <a:ext cx="1914890" cy="2123658"/>
            </a:xfrm>
            <a:prstGeom prst="rect">
              <a:avLst/>
            </a:prstGeom>
            <a:noFill/>
          </p:spPr>
          <p:txBody>
            <a:bodyPr wrap="square">
              <a:spAutoFit/>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Includes data classification and data security; supports scalability, data governance, and access control, data encryption, and continuous monitoring, making data more manageable, secure, and useful</a:t>
              </a:r>
            </a:p>
          </p:txBody>
        </p:sp>
        <p:grpSp>
          <p:nvGrpSpPr>
            <p:cNvPr id="31" name="Graphic 4">
              <a:extLst>
                <a:ext uri="{FF2B5EF4-FFF2-40B4-BE49-F238E27FC236}">
                  <a16:creationId xmlns:a16="http://schemas.microsoft.com/office/drawing/2014/main" id="{FAE5C5DF-85A1-D003-FC3E-6CBADE91544A}"/>
                </a:ext>
              </a:extLst>
            </p:cNvPr>
            <p:cNvGrpSpPr>
              <a:grpSpLocks noChangeAspect="1"/>
            </p:cNvGrpSpPr>
            <p:nvPr/>
          </p:nvGrpSpPr>
          <p:grpSpPr>
            <a:xfrm>
              <a:off x="7406653" y="1943759"/>
              <a:ext cx="923278" cy="922417"/>
              <a:chOff x="4045469" y="3824168"/>
              <a:chExt cx="362309" cy="361971"/>
            </a:xfrm>
            <a:solidFill>
              <a:schemeClr val="accent1"/>
            </a:solidFill>
          </p:grpSpPr>
          <p:sp>
            <p:nvSpPr>
              <p:cNvPr id="32" name="Graphic 4">
                <a:extLst>
                  <a:ext uri="{FF2B5EF4-FFF2-40B4-BE49-F238E27FC236}">
                    <a16:creationId xmlns:a16="http://schemas.microsoft.com/office/drawing/2014/main" id="{33CAE179-2965-4FBC-9C94-5EBB6B1EEDCE}"/>
                  </a:ext>
                </a:extLst>
              </p:cNvPr>
              <p:cNvSpPr/>
              <p:nvPr/>
            </p:nvSpPr>
            <p:spPr>
              <a:xfrm>
                <a:off x="4045469" y="3824168"/>
                <a:ext cx="362309"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292659 w 362309"/>
                  <a:gd name="connsiteY6" fmla="*/ 266850 h 361971"/>
                  <a:gd name="connsiteX7" fmla="*/ 286270 w 362309"/>
                  <a:gd name="connsiteY7" fmla="*/ 273234 h 361971"/>
                  <a:gd name="connsiteX8" fmla="*/ 241540 w 362309"/>
                  <a:gd name="connsiteY8" fmla="*/ 273234 h 361971"/>
                  <a:gd name="connsiteX9" fmla="*/ 235150 w 362309"/>
                  <a:gd name="connsiteY9" fmla="*/ 266850 h 361971"/>
                  <a:gd name="connsiteX10" fmla="*/ 235150 w 362309"/>
                  <a:gd name="connsiteY10" fmla="*/ 236846 h 361971"/>
                  <a:gd name="connsiteX11" fmla="*/ 241540 w 362309"/>
                  <a:gd name="connsiteY11" fmla="*/ 230462 h 361971"/>
                  <a:gd name="connsiteX12" fmla="*/ 257515 w 362309"/>
                  <a:gd name="connsiteY12" fmla="*/ 230462 h 361971"/>
                  <a:gd name="connsiteX13" fmla="*/ 257515 w 362309"/>
                  <a:gd name="connsiteY13" fmla="*/ 190881 h 361971"/>
                  <a:gd name="connsiteX14" fmla="*/ 187864 w 362309"/>
                  <a:gd name="connsiteY14" fmla="*/ 190881 h 361971"/>
                  <a:gd name="connsiteX15" fmla="*/ 187864 w 362309"/>
                  <a:gd name="connsiteY15" fmla="*/ 230462 h 361971"/>
                  <a:gd name="connsiteX16" fmla="*/ 203839 w 362309"/>
                  <a:gd name="connsiteY16" fmla="*/ 230462 h 361971"/>
                  <a:gd name="connsiteX17" fmla="*/ 210229 w 362309"/>
                  <a:gd name="connsiteY17" fmla="*/ 236846 h 361971"/>
                  <a:gd name="connsiteX18" fmla="*/ 210229 w 362309"/>
                  <a:gd name="connsiteY18" fmla="*/ 266850 h 361971"/>
                  <a:gd name="connsiteX19" fmla="*/ 203839 w 362309"/>
                  <a:gd name="connsiteY19" fmla="*/ 273234 h 361971"/>
                  <a:gd name="connsiteX20" fmla="*/ 159110 w 362309"/>
                  <a:gd name="connsiteY20" fmla="*/ 273234 h 361971"/>
                  <a:gd name="connsiteX21" fmla="*/ 152720 w 362309"/>
                  <a:gd name="connsiteY21" fmla="*/ 266850 h 361971"/>
                  <a:gd name="connsiteX22" fmla="*/ 152720 w 362309"/>
                  <a:gd name="connsiteY22" fmla="*/ 236846 h 361971"/>
                  <a:gd name="connsiteX23" fmla="*/ 159110 w 362309"/>
                  <a:gd name="connsiteY23" fmla="*/ 230462 h 361971"/>
                  <a:gd name="connsiteX24" fmla="*/ 175084 w 362309"/>
                  <a:gd name="connsiteY24" fmla="*/ 230462 h 361971"/>
                  <a:gd name="connsiteX25" fmla="*/ 175084 w 362309"/>
                  <a:gd name="connsiteY25" fmla="*/ 190881 h 361971"/>
                  <a:gd name="connsiteX26" fmla="*/ 105434 w 362309"/>
                  <a:gd name="connsiteY26" fmla="*/ 190881 h 361971"/>
                  <a:gd name="connsiteX27" fmla="*/ 105434 w 362309"/>
                  <a:gd name="connsiteY27" fmla="*/ 230462 h 361971"/>
                  <a:gd name="connsiteX28" fmla="*/ 121409 w 362309"/>
                  <a:gd name="connsiteY28" fmla="*/ 230462 h 361971"/>
                  <a:gd name="connsiteX29" fmla="*/ 127799 w 362309"/>
                  <a:gd name="connsiteY29" fmla="*/ 236846 h 361971"/>
                  <a:gd name="connsiteX30" fmla="*/ 127799 w 362309"/>
                  <a:gd name="connsiteY30" fmla="*/ 266850 h 361971"/>
                  <a:gd name="connsiteX31" fmla="*/ 121409 w 362309"/>
                  <a:gd name="connsiteY31" fmla="*/ 273234 h 361971"/>
                  <a:gd name="connsiteX32" fmla="*/ 76679 w 362309"/>
                  <a:gd name="connsiteY32" fmla="*/ 273234 h 361971"/>
                  <a:gd name="connsiteX33" fmla="*/ 70289 w 362309"/>
                  <a:gd name="connsiteY33" fmla="*/ 266850 h 361971"/>
                  <a:gd name="connsiteX34" fmla="*/ 70289 w 362309"/>
                  <a:gd name="connsiteY34" fmla="*/ 236846 h 361971"/>
                  <a:gd name="connsiteX35" fmla="*/ 76679 w 362309"/>
                  <a:gd name="connsiteY35" fmla="*/ 230462 h 361971"/>
                  <a:gd name="connsiteX36" fmla="*/ 92654 w 362309"/>
                  <a:gd name="connsiteY36" fmla="*/ 230462 h 361971"/>
                  <a:gd name="connsiteX37" fmla="*/ 92654 w 362309"/>
                  <a:gd name="connsiteY37" fmla="*/ 184497 h 361971"/>
                  <a:gd name="connsiteX38" fmla="*/ 99044 w 362309"/>
                  <a:gd name="connsiteY38" fmla="*/ 178113 h 361971"/>
                  <a:gd name="connsiteX39" fmla="*/ 175084 w 362309"/>
                  <a:gd name="connsiteY39" fmla="*/ 178113 h 361971"/>
                  <a:gd name="connsiteX40" fmla="*/ 175084 w 362309"/>
                  <a:gd name="connsiteY40" fmla="*/ 138532 h 361971"/>
                  <a:gd name="connsiteX41" fmla="*/ 159110 w 362309"/>
                  <a:gd name="connsiteY41" fmla="*/ 138532 h 361971"/>
                  <a:gd name="connsiteX42" fmla="*/ 152720 w 362309"/>
                  <a:gd name="connsiteY42" fmla="*/ 132148 h 361971"/>
                  <a:gd name="connsiteX43" fmla="*/ 152720 w 362309"/>
                  <a:gd name="connsiteY43" fmla="*/ 95121 h 361971"/>
                  <a:gd name="connsiteX44" fmla="*/ 159110 w 362309"/>
                  <a:gd name="connsiteY44" fmla="*/ 88737 h 361971"/>
                  <a:gd name="connsiteX45" fmla="*/ 203839 w 362309"/>
                  <a:gd name="connsiteY45" fmla="*/ 88737 h 361971"/>
                  <a:gd name="connsiteX46" fmla="*/ 210229 w 362309"/>
                  <a:gd name="connsiteY46" fmla="*/ 95121 h 361971"/>
                  <a:gd name="connsiteX47" fmla="*/ 210229 w 362309"/>
                  <a:gd name="connsiteY47" fmla="*/ 132148 h 361971"/>
                  <a:gd name="connsiteX48" fmla="*/ 203839 w 362309"/>
                  <a:gd name="connsiteY48" fmla="*/ 138532 h 361971"/>
                  <a:gd name="connsiteX49" fmla="*/ 187864 w 362309"/>
                  <a:gd name="connsiteY49" fmla="*/ 138532 h 361971"/>
                  <a:gd name="connsiteX50" fmla="*/ 187864 w 362309"/>
                  <a:gd name="connsiteY50" fmla="*/ 178113 h 361971"/>
                  <a:gd name="connsiteX51" fmla="*/ 263905 w 362309"/>
                  <a:gd name="connsiteY51" fmla="*/ 178113 h 361971"/>
                  <a:gd name="connsiteX52" fmla="*/ 270295 w 362309"/>
                  <a:gd name="connsiteY52" fmla="*/ 184497 h 361971"/>
                  <a:gd name="connsiteX53" fmla="*/ 270295 w 362309"/>
                  <a:gd name="connsiteY53" fmla="*/ 230462 h 361971"/>
                  <a:gd name="connsiteX54" fmla="*/ 286270 w 362309"/>
                  <a:gd name="connsiteY54" fmla="*/ 230462 h 361971"/>
                  <a:gd name="connsiteX55" fmla="*/ 292659 w 362309"/>
                  <a:gd name="connsiteY55" fmla="*/ 236846 h 361971"/>
                  <a:gd name="connsiteX56" fmla="*/ 292659 w 362309"/>
                  <a:gd name="connsiteY56" fmla="*/ 26685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2309" h="361971">
                    <a:moveTo>
                      <a:pt x="181474" y="0"/>
                    </a:moveTo>
                    <a:cubicBezTo>
                      <a:pt x="81152" y="0"/>
                      <a:pt x="0" y="81076"/>
                      <a:pt x="0" y="180667"/>
                    </a:cubicBezTo>
                    <a:cubicBezTo>
                      <a:pt x="0" y="280257"/>
                      <a:pt x="81152" y="361971"/>
                      <a:pt x="180836" y="361971"/>
                    </a:cubicBezTo>
                    <a:cubicBezTo>
                      <a:pt x="280518" y="361971"/>
                      <a:pt x="362310" y="280895"/>
                      <a:pt x="362310" y="181305"/>
                    </a:cubicBezTo>
                    <a:lnTo>
                      <a:pt x="362310" y="181305"/>
                    </a:lnTo>
                    <a:cubicBezTo>
                      <a:pt x="362310" y="81076"/>
                      <a:pt x="281796" y="0"/>
                      <a:pt x="181474" y="0"/>
                    </a:cubicBezTo>
                    <a:close/>
                    <a:moveTo>
                      <a:pt x="292659" y="266850"/>
                    </a:moveTo>
                    <a:cubicBezTo>
                      <a:pt x="292659" y="270681"/>
                      <a:pt x="290103" y="273234"/>
                      <a:pt x="286270" y="273234"/>
                    </a:cubicBezTo>
                    <a:lnTo>
                      <a:pt x="241540" y="273234"/>
                    </a:lnTo>
                    <a:cubicBezTo>
                      <a:pt x="237706" y="273234"/>
                      <a:pt x="235150" y="270681"/>
                      <a:pt x="235150" y="266850"/>
                    </a:cubicBezTo>
                    <a:lnTo>
                      <a:pt x="235150" y="236846"/>
                    </a:lnTo>
                    <a:cubicBezTo>
                      <a:pt x="235150" y="233015"/>
                      <a:pt x="237706" y="230462"/>
                      <a:pt x="241540" y="230462"/>
                    </a:cubicBezTo>
                    <a:lnTo>
                      <a:pt x="257515" y="230462"/>
                    </a:lnTo>
                    <a:lnTo>
                      <a:pt x="257515" y="190881"/>
                    </a:lnTo>
                    <a:lnTo>
                      <a:pt x="187864" y="190881"/>
                    </a:lnTo>
                    <a:lnTo>
                      <a:pt x="187864" y="230462"/>
                    </a:lnTo>
                    <a:lnTo>
                      <a:pt x="203839" y="230462"/>
                    </a:lnTo>
                    <a:cubicBezTo>
                      <a:pt x="207673" y="230462"/>
                      <a:pt x="210229" y="233015"/>
                      <a:pt x="210229" y="236846"/>
                    </a:cubicBezTo>
                    <a:lnTo>
                      <a:pt x="210229" y="266850"/>
                    </a:lnTo>
                    <a:cubicBezTo>
                      <a:pt x="210229" y="270681"/>
                      <a:pt x="207673" y="273234"/>
                      <a:pt x="203839" y="273234"/>
                    </a:cubicBezTo>
                    <a:lnTo>
                      <a:pt x="159110" y="273234"/>
                    </a:lnTo>
                    <a:cubicBezTo>
                      <a:pt x="155276" y="273234"/>
                      <a:pt x="152720" y="270681"/>
                      <a:pt x="152720" y="266850"/>
                    </a:cubicBezTo>
                    <a:lnTo>
                      <a:pt x="152720" y="236846"/>
                    </a:lnTo>
                    <a:cubicBezTo>
                      <a:pt x="152720" y="233015"/>
                      <a:pt x="155276" y="230462"/>
                      <a:pt x="159110" y="230462"/>
                    </a:cubicBezTo>
                    <a:lnTo>
                      <a:pt x="175084" y="230462"/>
                    </a:lnTo>
                    <a:lnTo>
                      <a:pt x="175084" y="190881"/>
                    </a:lnTo>
                    <a:lnTo>
                      <a:pt x="105434" y="190881"/>
                    </a:lnTo>
                    <a:lnTo>
                      <a:pt x="105434" y="230462"/>
                    </a:lnTo>
                    <a:lnTo>
                      <a:pt x="121409" y="230462"/>
                    </a:lnTo>
                    <a:cubicBezTo>
                      <a:pt x="125243" y="230462"/>
                      <a:pt x="127799" y="233015"/>
                      <a:pt x="127799" y="236846"/>
                    </a:cubicBezTo>
                    <a:lnTo>
                      <a:pt x="127799" y="266850"/>
                    </a:lnTo>
                    <a:cubicBezTo>
                      <a:pt x="127799" y="270681"/>
                      <a:pt x="125243" y="273234"/>
                      <a:pt x="121409" y="273234"/>
                    </a:cubicBezTo>
                    <a:lnTo>
                      <a:pt x="76679" y="273234"/>
                    </a:lnTo>
                    <a:cubicBezTo>
                      <a:pt x="72845" y="273234"/>
                      <a:pt x="70289" y="270681"/>
                      <a:pt x="70289" y="266850"/>
                    </a:cubicBezTo>
                    <a:lnTo>
                      <a:pt x="70289" y="236846"/>
                    </a:lnTo>
                    <a:cubicBezTo>
                      <a:pt x="70289" y="233015"/>
                      <a:pt x="72845" y="230462"/>
                      <a:pt x="76679" y="230462"/>
                    </a:cubicBezTo>
                    <a:lnTo>
                      <a:pt x="92654" y="230462"/>
                    </a:lnTo>
                    <a:lnTo>
                      <a:pt x="92654" y="184497"/>
                    </a:lnTo>
                    <a:cubicBezTo>
                      <a:pt x="92654" y="180667"/>
                      <a:pt x="95210" y="178113"/>
                      <a:pt x="99044" y="178113"/>
                    </a:cubicBezTo>
                    <a:lnTo>
                      <a:pt x="175084" y="178113"/>
                    </a:lnTo>
                    <a:lnTo>
                      <a:pt x="175084" y="138532"/>
                    </a:lnTo>
                    <a:lnTo>
                      <a:pt x="159110" y="138532"/>
                    </a:lnTo>
                    <a:cubicBezTo>
                      <a:pt x="155276" y="138532"/>
                      <a:pt x="152720" y="135979"/>
                      <a:pt x="152720" y="132148"/>
                    </a:cubicBezTo>
                    <a:lnTo>
                      <a:pt x="152720" y="95121"/>
                    </a:lnTo>
                    <a:cubicBezTo>
                      <a:pt x="152720" y="91291"/>
                      <a:pt x="155276" y="88737"/>
                      <a:pt x="159110" y="88737"/>
                    </a:cubicBezTo>
                    <a:lnTo>
                      <a:pt x="203839" y="88737"/>
                    </a:lnTo>
                    <a:cubicBezTo>
                      <a:pt x="207673" y="88737"/>
                      <a:pt x="210229" y="91291"/>
                      <a:pt x="210229" y="95121"/>
                    </a:cubicBezTo>
                    <a:lnTo>
                      <a:pt x="210229" y="132148"/>
                    </a:lnTo>
                    <a:cubicBezTo>
                      <a:pt x="210229" y="135979"/>
                      <a:pt x="207673" y="138532"/>
                      <a:pt x="203839" y="138532"/>
                    </a:cubicBezTo>
                    <a:lnTo>
                      <a:pt x="187864" y="138532"/>
                    </a:lnTo>
                    <a:lnTo>
                      <a:pt x="187864" y="178113"/>
                    </a:lnTo>
                    <a:lnTo>
                      <a:pt x="263905" y="178113"/>
                    </a:lnTo>
                    <a:cubicBezTo>
                      <a:pt x="267739" y="178113"/>
                      <a:pt x="270295" y="180667"/>
                      <a:pt x="270295" y="184497"/>
                    </a:cubicBezTo>
                    <a:lnTo>
                      <a:pt x="270295" y="230462"/>
                    </a:lnTo>
                    <a:lnTo>
                      <a:pt x="286270" y="230462"/>
                    </a:lnTo>
                    <a:cubicBezTo>
                      <a:pt x="290103" y="230462"/>
                      <a:pt x="292659" y="233015"/>
                      <a:pt x="292659" y="236846"/>
                    </a:cubicBezTo>
                    <a:lnTo>
                      <a:pt x="292659" y="266850"/>
                    </a:lnTo>
                    <a:close/>
                  </a:path>
                </a:pathLst>
              </a:custGeom>
              <a:solidFill>
                <a:schemeClr val="accent6">
                  <a:lumMod val="100000"/>
                </a:schemeClr>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3" name="Graphic 4">
                <a:extLst>
                  <a:ext uri="{FF2B5EF4-FFF2-40B4-BE49-F238E27FC236}">
                    <a16:creationId xmlns:a16="http://schemas.microsoft.com/office/drawing/2014/main" id="{DFACBA68-E3EC-CE79-4D0F-720746A8154E}"/>
                  </a:ext>
                </a:extLst>
              </p:cNvPr>
              <p:cNvSpPr/>
              <p:nvPr/>
            </p:nvSpPr>
            <p:spPr>
              <a:xfrm>
                <a:off x="4210968" y="4067397"/>
                <a:ext cx="31949" cy="17236"/>
              </a:xfrm>
              <a:custGeom>
                <a:avLst/>
                <a:gdLst>
                  <a:gd name="connsiteX0" fmla="*/ 0 w 31949"/>
                  <a:gd name="connsiteY0" fmla="*/ 0 h 17236"/>
                  <a:gd name="connsiteX1" fmla="*/ 31950 w 31949"/>
                  <a:gd name="connsiteY1" fmla="*/ 0 h 17236"/>
                  <a:gd name="connsiteX2" fmla="*/ 31950 w 31949"/>
                  <a:gd name="connsiteY2" fmla="*/ 17237 h 17236"/>
                  <a:gd name="connsiteX3" fmla="*/ 0 w 31949"/>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1949" h="17236">
                    <a:moveTo>
                      <a:pt x="0" y="0"/>
                    </a:moveTo>
                    <a:lnTo>
                      <a:pt x="31950" y="0"/>
                    </a:lnTo>
                    <a:lnTo>
                      <a:pt x="31950" y="17237"/>
                    </a:lnTo>
                    <a:lnTo>
                      <a:pt x="0" y="17237"/>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4" name="Graphic 4">
                <a:extLst>
                  <a:ext uri="{FF2B5EF4-FFF2-40B4-BE49-F238E27FC236}">
                    <a16:creationId xmlns:a16="http://schemas.microsoft.com/office/drawing/2014/main" id="{02E2A0B8-9071-44F0-BEA7-ED8A0DAD5B00}"/>
                  </a:ext>
                </a:extLst>
              </p:cNvPr>
              <p:cNvSpPr/>
              <p:nvPr/>
            </p:nvSpPr>
            <p:spPr>
              <a:xfrm>
                <a:off x="4210968" y="3925673"/>
                <a:ext cx="31949" cy="24897"/>
              </a:xfrm>
              <a:custGeom>
                <a:avLst/>
                <a:gdLst>
                  <a:gd name="connsiteX0" fmla="*/ 0 w 31949"/>
                  <a:gd name="connsiteY0" fmla="*/ 0 h 24897"/>
                  <a:gd name="connsiteX1" fmla="*/ 31950 w 31949"/>
                  <a:gd name="connsiteY1" fmla="*/ 0 h 24897"/>
                  <a:gd name="connsiteX2" fmla="*/ 31950 w 31949"/>
                  <a:gd name="connsiteY2" fmla="*/ 24898 h 24897"/>
                  <a:gd name="connsiteX3" fmla="*/ 0 w 31949"/>
                  <a:gd name="connsiteY3" fmla="*/ 24898 h 24897"/>
                </a:gdLst>
                <a:ahLst/>
                <a:cxnLst>
                  <a:cxn ang="0">
                    <a:pos x="connsiteX0" y="connsiteY0"/>
                  </a:cxn>
                  <a:cxn ang="0">
                    <a:pos x="connsiteX1" y="connsiteY1"/>
                  </a:cxn>
                  <a:cxn ang="0">
                    <a:pos x="connsiteX2" y="connsiteY2"/>
                  </a:cxn>
                  <a:cxn ang="0">
                    <a:pos x="connsiteX3" y="connsiteY3"/>
                  </a:cxn>
                </a:cxnLst>
                <a:rect l="l" t="t" r="r" b="b"/>
                <a:pathLst>
                  <a:path w="31949" h="24897">
                    <a:moveTo>
                      <a:pt x="0" y="0"/>
                    </a:moveTo>
                    <a:lnTo>
                      <a:pt x="31950" y="0"/>
                    </a:lnTo>
                    <a:lnTo>
                      <a:pt x="31950" y="24898"/>
                    </a:lnTo>
                    <a:lnTo>
                      <a:pt x="0" y="24898"/>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5" name="Graphic 4">
                <a:extLst>
                  <a:ext uri="{FF2B5EF4-FFF2-40B4-BE49-F238E27FC236}">
                    <a16:creationId xmlns:a16="http://schemas.microsoft.com/office/drawing/2014/main" id="{0DECA1A7-A84F-1801-FC3B-77DC4992708D}"/>
                  </a:ext>
                </a:extLst>
              </p:cNvPr>
              <p:cNvSpPr/>
              <p:nvPr/>
            </p:nvSpPr>
            <p:spPr>
              <a:xfrm>
                <a:off x="4128538" y="4067397"/>
                <a:ext cx="31949" cy="17236"/>
              </a:xfrm>
              <a:custGeom>
                <a:avLst/>
                <a:gdLst>
                  <a:gd name="connsiteX0" fmla="*/ 0 w 31949"/>
                  <a:gd name="connsiteY0" fmla="*/ 0 h 17236"/>
                  <a:gd name="connsiteX1" fmla="*/ 31950 w 31949"/>
                  <a:gd name="connsiteY1" fmla="*/ 0 h 17236"/>
                  <a:gd name="connsiteX2" fmla="*/ 31950 w 31949"/>
                  <a:gd name="connsiteY2" fmla="*/ 17237 h 17236"/>
                  <a:gd name="connsiteX3" fmla="*/ 0 w 31949"/>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1949" h="17236">
                    <a:moveTo>
                      <a:pt x="0" y="0"/>
                    </a:moveTo>
                    <a:lnTo>
                      <a:pt x="31950" y="0"/>
                    </a:lnTo>
                    <a:lnTo>
                      <a:pt x="31950" y="17237"/>
                    </a:lnTo>
                    <a:lnTo>
                      <a:pt x="0" y="17237"/>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6" name="Graphic 4">
                <a:extLst>
                  <a:ext uri="{FF2B5EF4-FFF2-40B4-BE49-F238E27FC236}">
                    <a16:creationId xmlns:a16="http://schemas.microsoft.com/office/drawing/2014/main" id="{A8A6CA53-D321-5CD9-D3D4-2EBA99E873C0}"/>
                  </a:ext>
                </a:extLst>
              </p:cNvPr>
              <p:cNvSpPr/>
              <p:nvPr/>
            </p:nvSpPr>
            <p:spPr>
              <a:xfrm>
                <a:off x="4293398" y="4067397"/>
                <a:ext cx="31949" cy="17236"/>
              </a:xfrm>
              <a:custGeom>
                <a:avLst/>
                <a:gdLst>
                  <a:gd name="connsiteX0" fmla="*/ 0 w 31949"/>
                  <a:gd name="connsiteY0" fmla="*/ 0 h 17236"/>
                  <a:gd name="connsiteX1" fmla="*/ 31950 w 31949"/>
                  <a:gd name="connsiteY1" fmla="*/ 0 h 17236"/>
                  <a:gd name="connsiteX2" fmla="*/ 31950 w 31949"/>
                  <a:gd name="connsiteY2" fmla="*/ 17237 h 17236"/>
                  <a:gd name="connsiteX3" fmla="*/ 0 w 31949"/>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1949" h="17236">
                    <a:moveTo>
                      <a:pt x="0" y="0"/>
                    </a:moveTo>
                    <a:lnTo>
                      <a:pt x="31950" y="0"/>
                    </a:lnTo>
                    <a:lnTo>
                      <a:pt x="31950" y="17237"/>
                    </a:lnTo>
                    <a:lnTo>
                      <a:pt x="0" y="17237"/>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58" name="Group 57">
            <a:extLst>
              <a:ext uri="{FF2B5EF4-FFF2-40B4-BE49-F238E27FC236}">
                <a16:creationId xmlns:a16="http://schemas.microsoft.com/office/drawing/2014/main" id="{DA929178-9B90-3A90-21E0-D144BDA17C59}"/>
              </a:ext>
            </a:extLst>
          </p:cNvPr>
          <p:cNvGrpSpPr/>
          <p:nvPr/>
        </p:nvGrpSpPr>
        <p:grpSpPr>
          <a:xfrm>
            <a:off x="9966080" y="1943759"/>
            <a:ext cx="2041864" cy="3360426"/>
            <a:chOff x="10062336" y="1943759"/>
            <a:chExt cx="2041864" cy="3360426"/>
          </a:xfrm>
        </p:grpSpPr>
        <p:sp>
          <p:nvSpPr>
            <p:cNvPr id="48" name="TextBox 47">
              <a:extLst>
                <a:ext uri="{FF2B5EF4-FFF2-40B4-BE49-F238E27FC236}">
                  <a16:creationId xmlns:a16="http://schemas.microsoft.com/office/drawing/2014/main" id="{628DE658-B67D-3417-0EA8-FAF61F54F1F6}"/>
                </a:ext>
              </a:extLst>
            </p:cNvPr>
            <p:cNvSpPr txBox="1"/>
            <p:nvPr/>
          </p:nvSpPr>
          <p:spPr>
            <a:xfrm>
              <a:off x="10062336" y="3061456"/>
              <a:ext cx="2041864" cy="646331"/>
            </a:xfrm>
            <a:prstGeom prst="rect">
              <a:avLst/>
            </a:prstGeom>
            <a:noFill/>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Master Data Management</a:t>
              </a:r>
            </a:p>
          </p:txBody>
        </p:sp>
        <p:sp>
          <p:nvSpPr>
            <p:cNvPr id="49" name="TextBox 48">
              <a:extLst>
                <a:ext uri="{FF2B5EF4-FFF2-40B4-BE49-F238E27FC236}">
                  <a16:creationId xmlns:a16="http://schemas.microsoft.com/office/drawing/2014/main" id="{FAED37FC-3C3B-2668-40A3-C4FDB4526F98}"/>
                </a:ext>
              </a:extLst>
            </p:cNvPr>
            <p:cNvSpPr txBox="1"/>
            <p:nvPr/>
          </p:nvSpPr>
          <p:spPr>
            <a:xfrm>
              <a:off x="10189310" y="3734525"/>
              <a:ext cx="1787917" cy="1569660"/>
            </a:xfrm>
            <a:prstGeom prst="rect">
              <a:avLst/>
            </a:prstGeom>
            <a:noFill/>
          </p:spPr>
          <p:txBody>
            <a:bodyPr wrap="square">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Supports data enrichment, identifies duplicates, enforces policies, increasing operational efficiency and ensuring accurate and consistent master data</a:t>
              </a:r>
            </a:p>
          </p:txBody>
        </p:sp>
        <p:sp>
          <p:nvSpPr>
            <p:cNvPr id="55" name="Oval 54">
              <a:extLst>
                <a:ext uri="{FF2B5EF4-FFF2-40B4-BE49-F238E27FC236}">
                  <a16:creationId xmlns:a16="http://schemas.microsoft.com/office/drawing/2014/main" id="{F95FB315-0B83-4EE6-3E6B-3ED3E604FFD3}"/>
                </a:ext>
              </a:extLst>
            </p:cNvPr>
            <p:cNvSpPr/>
            <p:nvPr/>
          </p:nvSpPr>
          <p:spPr>
            <a:xfrm>
              <a:off x="10621629" y="1943759"/>
              <a:ext cx="923268" cy="921059"/>
            </a:xfrm>
            <a:prstGeom prst="ellipse">
              <a:avLst/>
            </a:prstGeom>
            <a:solidFill>
              <a:schemeClr val="accent6">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Graphic 56" descr="Merger with solid fill">
              <a:extLst>
                <a:ext uri="{FF2B5EF4-FFF2-40B4-BE49-F238E27FC236}">
                  <a16:creationId xmlns:a16="http://schemas.microsoft.com/office/drawing/2014/main" id="{CEAE2182-0437-A02A-57B3-8FB0C61326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79782" y="1990022"/>
              <a:ext cx="841657" cy="841657"/>
            </a:xfrm>
            <a:prstGeom prst="rect">
              <a:avLst/>
            </a:prstGeom>
          </p:spPr>
        </p:pic>
      </p:grpSp>
      <p:sp>
        <p:nvSpPr>
          <p:cNvPr id="8" name="Rectangle 7">
            <a:extLst>
              <a:ext uri="{FF2B5EF4-FFF2-40B4-BE49-F238E27FC236}">
                <a16:creationId xmlns:a16="http://schemas.microsoft.com/office/drawing/2014/main" id="{B27A052A-D694-577D-9507-1DD4FE5D4347}"/>
              </a:ext>
            </a:extLst>
          </p:cNvPr>
          <p:cNvSpPr/>
          <p:nvPr/>
        </p:nvSpPr>
        <p:spPr bwMode="gray">
          <a:xfrm>
            <a:off x="326770" y="6432605"/>
            <a:ext cx="1124281" cy="31010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Tree>
    <p:extLst>
      <p:ext uri="{BB962C8B-B14F-4D97-AF65-F5344CB8AC3E}">
        <p14:creationId xmlns:p14="http://schemas.microsoft.com/office/powerpoint/2010/main" val="355787429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image.png">
            <a:extLst>
              <a:ext uri="{FF2B5EF4-FFF2-40B4-BE49-F238E27FC236}">
                <a16:creationId xmlns:a16="http://schemas.microsoft.com/office/drawing/2014/main" id="{712DA795-F92E-E735-38C7-8ABD214C3A46}"/>
              </a:ext>
            </a:extLst>
          </p:cNvPr>
          <p:cNvPicPr>
            <a:picLocks noChangeAspect="1"/>
          </p:cNvPicPr>
          <p:nvPr/>
        </p:nvPicPr>
        <p:blipFill>
          <a:blip r:embed="rId2"/>
          <a:stretch>
            <a:fillRect/>
          </a:stretch>
        </p:blipFill>
        <p:spPr>
          <a:xfrm>
            <a:off x="0" y="2876441"/>
            <a:ext cx="4588933" cy="3981559"/>
          </a:xfrm>
          <a:prstGeom prst="rect">
            <a:avLst/>
          </a:prstGeom>
        </p:spPr>
      </p:pic>
      <p:sp>
        <p:nvSpPr>
          <p:cNvPr id="3" name="Title 2">
            <a:extLst>
              <a:ext uri="{FF2B5EF4-FFF2-40B4-BE49-F238E27FC236}">
                <a16:creationId xmlns:a16="http://schemas.microsoft.com/office/drawing/2014/main" id="{2C6B598F-2BCB-A1B6-EA4F-ADAE74CDDEE1}"/>
              </a:ext>
            </a:extLst>
          </p:cNvPr>
          <p:cNvSpPr>
            <a:spLocks noGrp="1"/>
          </p:cNvSpPr>
          <p:nvPr>
            <p:ph type="title"/>
          </p:nvPr>
        </p:nvSpPr>
        <p:spPr/>
        <p:txBody>
          <a:bodyPr/>
          <a:lstStyle/>
          <a:p>
            <a:r>
              <a:rPr lang="en-US" dirty="0"/>
              <a:t>Let’s make it Interactive!</a:t>
            </a:r>
            <a:endParaRPr lang="nl-NL" dirty="0"/>
          </a:p>
        </p:txBody>
      </p:sp>
      <p:pic>
        <p:nvPicPr>
          <p:cNvPr id="5" name="Picture 4">
            <a:extLst>
              <a:ext uri="{FF2B5EF4-FFF2-40B4-BE49-F238E27FC236}">
                <a16:creationId xmlns:a16="http://schemas.microsoft.com/office/drawing/2014/main" id="{9C68D1A1-2832-A56E-BFC4-0FF27106BC2E}"/>
              </a:ext>
            </a:extLst>
          </p:cNvPr>
          <p:cNvPicPr>
            <a:picLocks noChangeAspect="1"/>
          </p:cNvPicPr>
          <p:nvPr/>
        </p:nvPicPr>
        <p:blipFill>
          <a:blip r:embed="rId3"/>
          <a:stretch>
            <a:fillRect/>
          </a:stretch>
        </p:blipFill>
        <p:spPr>
          <a:xfrm>
            <a:off x="2043486" y="1575729"/>
            <a:ext cx="7433717" cy="3766816"/>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F35F4E9E-1B00-C03F-8D67-6E1EBAAB2588}"/>
              </a:ext>
            </a:extLst>
          </p:cNvPr>
          <p:cNvSpPr txBox="1"/>
          <p:nvPr/>
        </p:nvSpPr>
        <p:spPr>
          <a:xfrm>
            <a:off x="4340661" y="5546274"/>
            <a:ext cx="5136542" cy="369332"/>
          </a:xfrm>
          <a:prstGeom prst="rect">
            <a:avLst/>
          </a:prstGeom>
          <a:noFill/>
        </p:spPr>
        <p:txBody>
          <a:bodyPr wrap="square">
            <a:spAutoFit/>
          </a:bodyPr>
          <a:lstStyle/>
          <a:p>
            <a:r>
              <a:rPr lang="nl-NL" dirty="0"/>
              <a:t>https://github.com/rutgerrienks/Datamanagement</a:t>
            </a:r>
          </a:p>
        </p:txBody>
      </p:sp>
      <p:sp>
        <p:nvSpPr>
          <p:cNvPr id="8" name="TextBox 7">
            <a:extLst>
              <a:ext uri="{FF2B5EF4-FFF2-40B4-BE49-F238E27FC236}">
                <a16:creationId xmlns:a16="http://schemas.microsoft.com/office/drawing/2014/main" id="{39F1402A-9DB3-5BCC-8DFB-37FEAE0C0464}"/>
              </a:ext>
            </a:extLst>
          </p:cNvPr>
          <p:cNvSpPr txBox="1"/>
          <p:nvPr/>
        </p:nvSpPr>
        <p:spPr>
          <a:xfrm>
            <a:off x="3181888" y="1051912"/>
            <a:ext cx="7671641" cy="369332"/>
          </a:xfrm>
          <a:prstGeom prst="rect">
            <a:avLst/>
          </a:prstGeom>
          <a:noFill/>
        </p:spPr>
        <p:txBody>
          <a:bodyPr wrap="square">
            <a:spAutoFit/>
          </a:bodyPr>
          <a:lstStyle/>
          <a:p>
            <a:r>
              <a:rPr lang="nl-NL" dirty="0"/>
              <a:t>Download </a:t>
            </a:r>
            <a:r>
              <a:rPr lang="nl-NL" dirty="0" err="1"/>
              <a:t>the</a:t>
            </a:r>
            <a:r>
              <a:rPr lang="nl-NL" dirty="0"/>
              <a:t> notebooks </a:t>
            </a:r>
            <a:r>
              <a:rPr lang="nl-NL" dirty="0" err="1"/>
              <a:t>to</a:t>
            </a:r>
            <a:r>
              <a:rPr lang="nl-NL" dirty="0"/>
              <a:t> follow </a:t>
            </a:r>
            <a:r>
              <a:rPr lang="nl-NL" dirty="0" err="1"/>
              <a:t>along</a:t>
            </a:r>
            <a:r>
              <a:rPr lang="nl-NL" dirty="0"/>
              <a:t> </a:t>
            </a:r>
            <a:r>
              <a:rPr lang="nl-NL" dirty="0" err="1"/>
              <a:t>the</a:t>
            </a:r>
            <a:r>
              <a:rPr lang="nl-NL" dirty="0"/>
              <a:t> </a:t>
            </a:r>
            <a:r>
              <a:rPr lang="nl-NL" dirty="0" err="1"/>
              <a:t>presentation</a:t>
            </a:r>
            <a:endParaRPr lang="nl-NL" dirty="0"/>
          </a:p>
        </p:txBody>
      </p:sp>
    </p:spTree>
    <p:extLst>
      <p:ext uri="{BB962C8B-B14F-4D97-AF65-F5344CB8AC3E}">
        <p14:creationId xmlns:p14="http://schemas.microsoft.com/office/powerpoint/2010/main" val="38035922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BF0BC338-EF05-4227-0092-6328823913DC}"/>
              </a:ext>
            </a:extLst>
          </p:cNvPr>
          <p:cNvSpPr/>
          <p:nvPr/>
        </p:nvSpPr>
        <p:spPr>
          <a:xfrm>
            <a:off x="476071" y="5034817"/>
            <a:ext cx="320040" cy="32004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3" name="Group 2">
            <a:extLst>
              <a:ext uri="{FF2B5EF4-FFF2-40B4-BE49-F238E27FC236}">
                <a16:creationId xmlns:a16="http://schemas.microsoft.com/office/drawing/2014/main" id="{87B10A29-EBDB-586D-9EA5-28C87D432BBA}"/>
              </a:ext>
            </a:extLst>
          </p:cNvPr>
          <p:cNvGrpSpPr/>
          <p:nvPr/>
        </p:nvGrpSpPr>
        <p:grpSpPr>
          <a:xfrm>
            <a:off x="431276" y="2424392"/>
            <a:ext cx="6641114" cy="3233367"/>
            <a:chOff x="463295" y="2020994"/>
            <a:chExt cx="6641114" cy="3233367"/>
          </a:xfrm>
        </p:grpSpPr>
        <p:sp>
          <p:nvSpPr>
            <p:cNvPr id="4" name="object 22">
              <a:extLst>
                <a:ext uri="{FF2B5EF4-FFF2-40B4-BE49-F238E27FC236}">
                  <a16:creationId xmlns:a16="http://schemas.microsoft.com/office/drawing/2014/main" id="{67EC600B-B0BD-E0CB-4E7B-1373952A7E21}"/>
                </a:ext>
              </a:extLst>
            </p:cNvPr>
            <p:cNvSpPr txBox="1"/>
            <p:nvPr/>
          </p:nvSpPr>
          <p:spPr>
            <a:xfrm>
              <a:off x="463295" y="2020994"/>
              <a:ext cx="6641114" cy="1567737"/>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400" b="1" i="1"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Key Data Governance Capabilities: </a:t>
              </a:r>
              <a:endParaRPr kumimoji="0" lang="en-US" sz="1400" b="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558800" marR="0" lvl="0" indent="0" algn="l" defTabSz="914400" rtl="0" eaLnBrk="1" fontAlgn="auto" latinLnBrk="0" hangingPunct="1">
                <a:lnSpc>
                  <a:spcPct val="100000"/>
                </a:lnSpc>
                <a:spcBef>
                  <a:spcPts val="600"/>
                </a:spcBef>
                <a:spcAft>
                  <a:spcPts val="0"/>
                </a:spcAft>
                <a:buClrTx/>
                <a:buSzTx/>
                <a:buFontTx/>
                <a:buNone/>
                <a:tabLst>
                  <a:tab pos="730250" algn="l"/>
                </a:tabLst>
                <a:defRPr/>
              </a:pPr>
              <a:r>
                <a:rPr kumimoji="0" lang="en-US" sz="1200" b="1"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Data Classification Standards: </a:t>
              </a:r>
              <a:r>
                <a:rPr kumimoji="0" lang="en-US" sz="1200" b="0"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Tag data with labels such as Public, Confidential, and Personal Information.</a:t>
              </a:r>
            </a:p>
            <a:p>
              <a:pPr marL="558800" marR="0" lvl="0" indent="0" algn="l" defTabSz="914400" rtl="0" eaLnBrk="1" fontAlgn="auto" latinLnBrk="0" hangingPunct="1">
                <a:lnSpc>
                  <a:spcPct val="100000"/>
                </a:lnSpc>
                <a:spcBef>
                  <a:spcPts val="600"/>
                </a:spcBef>
                <a:spcAft>
                  <a:spcPts val="0"/>
                </a:spcAft>
                <a:buClrTx/>
                <a:buSzTx/>
                <a:buFontTx/>
                <a:buNone/>
                <a:tabLst>
                  <a:tab pos="730250" algn="l"/>
                </a:tabLst>
                <a:defRPr/>
              </a:pPr>
              <a:r>
                <a:rPr kumimoji="0" lang="en-US" sz="1200" b="1"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Access Control: </a:t>
              </a:r>
              <a:r>
                <a:rPr kumimoji="0" lang="en-US" sz="1200" b="0" i="0" u="none" strike="noStrike" kern="0" cap="none" spc="0" normalizeH="0" baseline="0" noProof="0" dirty="0">
                  <a:ln>
                    <a:noFill/>
                  </a:ln>
                  <a:solidFill>
                    <a:srgbClr val="3E3E3E"/>
                  </a:solidFill>
                  <a:effectLst/>
                  <a:uLnTx/>
                  <a:uFillTx/>
                  <a:latin typeface="Open Sans" panose="020B0606030504020204" pitchFamily="34" charset="0"/>
                  <a:ea typeface="Open Sans" panose="020B0606030504020204" pitchFamily="34" charset="0"/>
                  <a:cs typeface="Open Sans" panose="020B0606030504020204" pitchFamily="34" charset="0"/>
                </a:rPr>
                <a:t>Ensuring users have data on a need-to-know basis and verifying identity and permissions before granting access</a:t>
              </a:r>
            </a:p>
            <a:p>
              <a:pPr marL="558800" marR="0" lvl="0" indent="0" algn="l" defTabSz="914400" rtl="0" eaLnBrk="1" fontAlgn="auto" latinLnBrk="0" hangingPunct="1">
                <a:lnSpc>
                  <a:spcPct val="100000"/>
                </a:lnSpc>
                <a:spcBef>
                  <a:spcPts val="600"/>
                </a:spcBef>
                <a:spcAft>
                  <a:spcPts val="0"/>
                </a:spcAft>
                <a:buClrTx/>
                <a:buSzTx/>
                <a:buFontTx/>
                <a:buNone/>
                <a:tabLst>
                  <a:tab pos="730250" algn="l"/>
                </a:tabLst>
                <a:defRPr/>
              </a:pPr>
              <a:r>
                <a:rPr lang="en-US" sz="1200" b="1"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Data Stewardship: </a:t>
              </a:r>
              <a:r>
                <a:rPr lang="en-US" sz="1200"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Responsibly managing and overseeing an organization's data assets to ensure data quality, integrity, security, and compliance</a:t>
              </a:r>
            </a:p>
          </p:txBody>
        </p:sp>
        <p:sp>
          <p:nvSpPr>
            <p:cNvPr id="5" name="object 28">
              <a:extLst>
                <a:ext uri="{FF2B5EF4-FFF2-40B4-BE49-F238E27FC236}">
                  <a16:creationId xmlns:a16="http://schemas.microsoft.com/office/drawing/2014/main" id="{DB740B15-FAE2-BC60-237B-D6B0778EAE2D}"/>
                </a:ext>
              </a:extLst>
            </p:cNvPr>
            <p:cNvSpPr txBox="1"/>
            <p:nvPr/>
          </p:nvSpPr>
          <p:spPr>
            <a:xfrm>
              <a:off x="471077" y="3734330"/>
              <a:ext cx="6441231" cy="1520031"/>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1"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How AI/GenAI </a:t>
              </a:r>
              <a:r>
                <a:rPr lang="en-US" sz="1400" b="1" i="1"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E</a:t>
              </a:r>
              <a:r>
                <a:rPr kumimoji="0" lang="en-US" sz="1400" b="1" i="1" u="none" strike="noStrike" kern="0" cap="none" spc="0" normalizeH="0" baseline="0" noProof="0" dirty="0" err="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nhances</a:t>
              </a:r>
              <a:r>
                <a:rPr kumimoji="0" lang="en-US" sz="1400" b="1" i="1"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 Data Governance:</a:t>
              </a:r>
              <a:endParaRPr kumimoji="0" lang="en-US" sz="1400" b="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558800">
                <a:spcBef>
                  <a:spcPts val="600"/>
                </a:spcBef>
                <a:tabLst>
                  <a:tab pos="730250" algn="l"/>
                </a:tabLst>
                <a:defRPr/>
              </a:pPr>
              <a:r>
                <a:rPr lang="en-US" sz="1200" b="1"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Automates Data Classification: </a:t>
              </a:r>
              <a:r>
                <a:rPr kumimoji="0" lang="en-US" sz="1200" b="0" i="0" u="none" strike="noStrike" kern="0" cap="none" spc="-1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AI/GenAI can classify data and apply labels based on predefined criteria, reducing the time and effort required for manual classification and monitoring and classifying new data in real time</a:t>
              </a:r>
            </a:p>
            <a:p>
              <a:pPr marL="558800" marR="5080" lvl="0" indent="0" fontAlgn="auto">
                <a:lnSpc>
                  <a:spcPct val="106700"/>
                </a:lnSpc>
                <a:spcBef>
                  <a:spcPts val="600"/>
                </a:spcBef>
                <a:spcAft>
                  <a:spcPts val="0"/>
                </a:spcAft>
                <a:buClrTx/>
                <a:buSzTx/>
                <a:buFontTx/>
                <a:buNone/>
                <a:tabLst>
                  <a:tab pos="730250" algn="l"/>
                </a:tabLst>
                <a:defRPr/>
              </a:pPr>
              <a:r>
                <a:rPr lang="en-US" sz="1200" b="1"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Assists Data Stewards: </a:t>
              </a:r>
              <a:r>
                <a:rPr lang="en-US" sz="1200" kern="0" dirty="0">
                  <a:solidFill>
                    <a:srgbClr val="3E3E3E"/>
                  </a:solidFill>
                  <a:latin typeface="Open Sans" panose="020B0606030504020204" pitchFamily="34" charset="0"/>
                  <a:ea typeface="Open Sans" panose="020B0606030504020204" pitchFamily="34" charset="0"/>
                  <a:cs typeface="Open Sans" panose="020B0606030504020204" pitchFamily="34" charset="0"/>
                </a:rPr>
                <a:t>AI/GenAI can automate data management workflows and processes and enable proactive monitoring and compliance through advanced analytics  </a:t>
              </a:r>
            </a:p>
          </p:txBody>
        </p:sp>
      </p:grpSp>
      <p:grpSp>
        <p:nvGrpSpPr>
          <p:cNvPr id="6" name="Group 5">
            <a:extLst>
              <a:ext uri="{FF2B5EF4-FFF2-40B4-BE49-F238E27FC236}">
                <a16:creationId xmlns:a16="http://schemas.microsoft.com/office/drawing/2014/main" id="{6E09D130-EC4D-063B-7BD3-14252F31CB38}"/>
              </a:ext>
            </a:extLst>
          </p:cNvPr>
          <p:cNvGrpSpPr/>
          <p:nvPr/>
        </p:nvGrpSpPr>
        <p:grpSpPr>
          <a:xfrm>
            <a:off x="476071" y="2745196"/>
            <a:ext cx="320040" cy="320040"/>
            <a:chOff x="6996491" y="780961"/>
            <a:chExt cx="365760" cy="365760"/>
          </a:xfrm>
          <a:solidFill>
            <a:schemeClr val="accent1"/>
          </a:solidFill>
        </p:grpSpPr>
        <p:sp>
          <p:nvSpPr>
            <p:cNvPr id="7" name="Oval 6">
              <a:extLst>
                <a:ext uri="{FF2B5EF4-FFF2-40B4-BE49-F238E27FC236}">
                  <a16:creationId xmlns:a16="http://schemas.microsoft.com/office/drawing/2014/main" id="{E517D1EE-F046-3710-6635-A8206E4D93CB}"/>
                </a:ext>
              </a:extLst>
            </p:cNvPr>
            <p:cNvSpPr/>
            <p:nvPr/>
          </p:nvSpPr>
          <p:spPr>
            <a:xfrm>
              <a:off x="6996491" y="780961"/>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8" name="Graphic 7" descr="Clipboard Checked outline">
              <a:extLst>
                <a:ext uri="{FF2B5EF4-FFF2-40B4-BE49-F238E27FC236}">
                  <a16:creationId xmlns:a16="http://schemas.microsoft.com/office/drawing/2014/main" id="{13BB5893-72B5-C6AA-BC11-4437A4EFFE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74" y="831944"/>
              <a:ext cx="263794" cy="263794"/>
            </a:xfrm>
            <a:prstGeom prst="rect">
              <a:avLst/>
            </a:prstGeom>
          </p:spPr>
        </p:pic>
      </p:grpSp>
      <p:grpSp>
        <p:nvGrpSpPr>
          <p:cNvPr id="9" name="Group 8">
            <a:extLst>
              <a:ext uri="{FF2B5EF4-FFF2-40B4-BE49-F238E27FC236}">
                <a16:creationId xmlns:a16="http://schemas.microsoft.com/office/drawing/2014/main" id="{4B455750-CE11-C817-E5B8-7514C4F2CFD5}"/>
              </a:ext>
            </a:extLst>
          </p:cNvPr>
          <p:cNvGrpSpPr/>
          <p:nvPr/>
        </p:nvGrpSpPr>
        <p:grpSpPr>
          <a:xfrm>
            <a:off x="476071" y="3150044"/>
            <a:ext cx="320040" cy="320040"/>
            <a:chOff x="5712044" y="116083"/>
            <a:chExt cx="365760" cy="365760"/>
          </a:xfrm>
          <a:solidFill>
            <a:schemeClr val="accent1"/>
          </a:solidFill>
        </p:grpSpPr>
        <p:sp>
          <p:nvSpPr>
            <p:cNvPr id="10" name="Oval 9">
              <a:extLst>
                <a:ext uri="{FF2B5EF4-FFF2-40B4-BE49-F238E27FC236}">
                  <a16:creationId xmlns:a16="http://schemas.microsoft.com/office/drawing/2014/main" id="{D1CD66F9-EC6B-2663-06A9-5AE97F22155E}"/>
                </a:ext>
              </a:extLst>
            </p:cNvPr>
            <p:cNvSpPr/>
            <p:nvPr/>
          </p:nvSpPr>
          <p:spPr>
            <a:xfrm>
              <a:off x="5712044" y="116083"/>
              <a:ext cx="365760" cy="36576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pic>
          <p:nvPicPr>
            <p:cNvPr id="11" name="Graphic 10" descr="Users outline">
              <a:extLst>
                <a:ext uri="{FF2B5EF4-FFF2-40B4-BE49-F238E27FC236}">
                  <a16:creationId xmlns:a16="http://schemas.microsoft.com/office/drawing/2014/main" id="{1FA7022D-4404-36C0-3515-2586C92C81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36773" y="140812"/>
              <a:ext cx="316303" cy="316303"/>
            </a:xfrm>
            <a:prstGeom prst="rect">
              <a:avLst/>
            </a:prstGeom>
          </p:spPr>
        </p:pic>
      </p:grpSp>
      <p:sp>
        <p:nvSpPr>
          <p:cNvPr id="12" name="Oval 11">
            <a:extLst>
              <a:ext uri="{FF2B5EF4-FFF2-40B4-BE49-F238E27FC236}">
                <a16:creationId xmlns:a16="http://schemas.microsoft.com/office/drawing/2014/main" id="{1B963731-6698-B077-CB2A-FED960A1C697}"/>
              </a:ext>
            </a:extLst>
          </p:cNvPr>
          <p:cNvSpPr/>
          <p:nvPr/>
        </p:nvSpPr>
        <p:spPr>
          <a:xfrm>
            <a:off x="476071" y="3581517"/>
            <a:ext cx="320040" cy="32004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 name="object 25">
            <a:extLst>
              <a:ext uri="{FF2B5EF4-FFF2-40B4-BE49-F238E27FC236}">
                <a16:creationId xmlns:a16="http://schemas.microsoft.com/office/drawing/2014/main" id="{3B5C6C41-774A-6958-90C6-AB45987A591C}"/>
              </a:ext>
            </a:extLst>
          </p:cNvPr>
          <p:cNvSpPr/>
          <p:nvPr/>
        </p:nvSpPr>
        <p:spPr>
          <a:xfrm>
            <a:off x="466509" y="4478664"/>
            <a:ext cx="320040" cy="320040"/>
          </a:xfrm>
          <a:custGeom>
            <a:avLst/>
            <a:gdLst/>
            <a:ahLst/>
            <a:cxnLst/>
            <a:rect l="l" t="t" r="r" b="b"/>
            <a:pathLst>
              <a:path w="365759" h="365760">
                <a:moveTo>
                  <a:pt x="182879" y="0"/>
                </a:moveTo>
                <a:lnTo>
                  <a:pt x="134108" y="6502"/>
                </a:lnTo>
                <a:lnTo>
                  <a:pt x="90378" y="24872"/>
                </a:lnTo>
                <a:lnTo>
                  <a:pt x="53397" y="53401"/>
                </a:lnTo>
                <a:lnTo>
                  <a:pt x="24869" y="90384"/>
                </a:lnTo>
                <a:lnTo>
                  <a:pt x="6501" y="134112"/>
                </a:lnTo>
                <a:lnTo>
                  <a:pt x="0" y="182880"/>
                </a:lnTo>
                <a:lnTo>
                  <a:pt x="6501" y="231400"/>
                </a:lnTo>
                <a:lnTo>
                  <a:pt x="24869" y="275059"/>
                </a:lnTo>
                <a:lnTo>
                  <a:pt x="53397" y="312091"/>
                </a:lnTo>
                <a:lnTo>
                  <a:pt x="90378" y="340729"/>
                </a:lnTo>
                <a:lnTo>
                  <a:pt x="134108" y="359208"/>
                </a:lnTo>
                <a:lnTo>
                  <a:pt x="182879" y="365760"/>
                </a:lnTo>
                <a:lnTo>
                  <a:pt x="231400" y="359208"/>
                </a:lnTo>
                <a:lnTo>
                  <a:pt x="275059" y="340729"/>
                </a:lnTo>
                <a:lnTo>
                  <a:pt x="312091" y="312091"/>
                </a:lnTo>
                <a:lnTo>
                  <a:pt x="340729" y="275059"/>
                </a:lnTo>
                <a:lnTo>
                  <a:pt x="341042" y="274320"/>
                </a:lnTo>
                <a:lnTo>
                  <a:pt x="157873" y="274320"/>
                </a:lnTo>
                <a:lnTo>
                  <a:pt x="155727" y="273608"/>
                </a:lnTo>
                <a:lnTo>
                  <a:pt x="154304" y="272884"/>
                </a:lnTo>
                <a:lnTo>
                  <a:pt x="152158" y="270751"/>
                </a:lnTo>
                <a:lnTo>
                  <a:pt x="142874" y="269316"/>
                </a:lnTo>
                <a:lnTo>
                  <a:pt x="138582" y="268605"/>
                </a:lnTo>
                <a:lnTo>
                  <a:pt x="133591" y="267893"/>
                </a:lnTo>
                <a:lnTo>
                  <a:pt x="129298" y="267182"/>
                </a:lnTo>
                <a:lnTo>
                  <a:pt x="127857" y="266458"/>
                </a:lnTo>
                <a:lnTo>
                  <a:pt x="80721" y="266458"/>
                </a:lnTo>
                <a:lnTo>
                  <a:pt x="77863" y="264312"/>
                </a:lnTo>
                <a:lnTo>
                  <a:pt x="76441" y="261454"/>
                </a:lnTo>
                <a:lnTo>
                  <a:pt x="75006" y="257886"/>
                </a:lnTo>
                <a:lnTo>
                  <a:pt x="77152" y="252895"/>
                </a:lnTo>
                <a:lnTo>
                  <a:pt x="80721" y="251460"/>
                </a:lnTo>
                <a:lnTo>
                  <a:pt x="82156" y="250748"/>
                </a:lnTo>
                <a:lnTo>
                  <a:pt x="85013" y="242887"/>
                </a:lnTo>
                <a:lnTo>
                  <a:pt x="84289" y="240029"/>
                </a:lnTo>
                <a:lnTo>
                  <a:pt x="80989" y="233954"/>
                </a:lnTo>
                <a:lnTo>
                  <a:pt x="77669" y="226767"/>
                </a:lnTo>
                <a:lnTo>
                  <a:pt x="74649" y="219130"/>
                </a:lnTo>
                <a:lnTo>
                  <a:pt x="72148" y="211454"/>
                </a:lnTo>
                <a:lnTo>
                  <a:pt x="70152" y="198486"/>
                </a:lnTo>
                <a:lnTo>
                  <a:pt x="70244" y="194310"/>
                </a:lnTo>
                <a:lnTo>
                  <a:pt x="95103" y="157702"/>
                </a:lnTo>
                <a:lnTo>
                  <a:pt x="106438" y="155740"/>
                </a:lnTo>
                <a:lnTo>
                  <a:pt x="160019" y="155740"/>
                </a:lnTo>
                <a:lnTo>
                  <a:pt x="162877" y="152158"/>
                </a:lnTo>
                <a:lnTo>
                  <a:pt x="281457" y="152158"/>
                </a:lnTo>
                <a:lnTo>
                  <a:pt x="281457" y="144297"/>
                </a:lnTo>
                <a:lnTo>
                  <a:pt x="110007" y="144297"/>
                </a:lnTo>
                <a:lnTo>
                  <a:pt x="106438" y="141452"/>
                </a:lnTo>
                <a:lnTo>
                  <a:pt x="106438" y="117157"/>
                </a:lnTo>
                <a:lnTo>
                  <a:pt x="110007" y="114300"/>
                </a:lnTo>
                <a:lnTo>
                  <a:pt x="350835" y="114300"/>
                </a:lnTo>
                <a:lnTo>
                  <a:pt x="340729" y="90384"/>
                </a:lnTo>
                <a:lnTo>
                  <a:pt x="312091" y="53401"/>
                </a:lnTo>
                <a:lnTo>
                  <a:pt x="275059" y="24872"/>
                </a:lnTo>
                <a:lnTo>
                  <a:pt x="231400" y="6502"/>
                </a:lnTo>
                <a:lnTo>
                  <a:pt x="182879" y="0"/>
                </a:lnTo>
                <a:close/>
              </a:path>
              <a:path w="365759" h="365760">
                <a:moveTo>
                  <a:pt x="160019" y="155740"/>
                </a:moveTo>
                <a:lnTo>
                  <a:pt x="106438" y="155740"/>
                </a:lnTo>
                <a:lnTo>
                  <a:pt x="110703" y="156052"/>
                </a:lnTo>
                <a:lnTo>
                  <a:pt x="118049" y="157702"/>
                </a:lnTo>
                <a:lnTo>
                  <a:pt x="142425" y="198486"/>
                </a:lnTo>
                <a:lnTo>
                  <a:pt x="140017" y="211454"/>
                </a:lnTo>
                <a:lnTo>
                  <a:pt x="137927" y="219130"/>
                </a:lnTo>
                <a:lnTo>
                  <a:pt x="135102" y="226809"/>
                </a:lnTo>
                <a:lnTo>
                  <a:pt x="131877" y="233954"/>
                </a:lnTo>
                <a:lnTo>
                  <a:pt x="128587" y="240029"/>
                </a:lnTo>
                <a:lnTo>
                  <a:pt x="127876" y="242887"/>
                </a:lnTo>
                <a:lnTo>
                  <a:pt x="130733" y="250748"/>
                </a:lnTo>
                <a:lnTo>
                  <a:pt x="132156" y="252171"/>
                </a:lnTo>
                <a:lnTo>
                  <a:pt x="133591" y="252171"/>
                </a:lnTo>
                <a:lnTo>
                  <a:pt x="137871" y="252895"/>
                </a:lnTo>
                <a:lnTo>
                  <a:pt x="141439" y="253606"/>
                </a:lnTo>
                <a:lnTo>
                  <a:pt x="150012" y="255028"/>
                </a:lnTo>
                <a:lnTo>
                  <a:pt x="159308" y="256463"/>
                </a:lnTo>
                <a:lnTo>
                  <a:pt x="164299" y="261454"/>
                </a:lnTo>
                <a:lnTo>
                  <a:pt x="167881" y="264312"/>
                </a:lnTo>
                <a:lnTo>
                  <a:pt x="167881" y="268605"/>
                </a:lnTo>
                <a:lnTo>
                  <a:pt x="165023" y="272173"/>
                </a:lnTo>
                <a:lnTo>
                  <a:pt x="163588" y="273608"/>
                </a:lnTo>
                <a:lnTo>
                  <a:pt x="161455" y="274320"/>
                </a:lnTo>
                <a:lnTo>
                  <a:pt x="341042" y="274320"/>
                </a:lnTo>
                <a:lnTo>
                  <a:pt x="357372" y="235737"/>
                </a:lnTo>
                <a:lnTo>
                  <a:pt x="155727" y="235737"/>
                </a:lnTo>
                <a:lnTo>
                  <a:pt x="152158" y="232879"/>
                </a:lnTo>
                <a:lnTo>
                  <a:pt x="152158" y="224320"/>
                </a:lnTo>
                <a:lnTo>
                  <a:pt x="155727" y="220738"/>
                </a:lnTo>
                <a:lnTo>
                  <a:pt x="281457" y="220738"/>
                </a:lnTo>
                <a:lnTo>
                  <a:pt x="281457" y="197878"/>
                </a:lnTo>
                <a:lnTo>
                  <a:pt x="162877" y="197878"/>
                </a:lnTo>
                <a:lnTo>
                  <a:pt x="160019" y="194310"/>
                </a:lnTo>
                <a:lnTo>
                  <a:pt x="160019" y="185737"/>
                </a:lnTo>
                <a:lnTo>
                  <a:pt x="162877" y="182880"/>
                </a:lnTo>
                <a:lnTo>
                  <a:pt x="281457" y="182880"/>
                </a:lnTo>
                <a:lnTo>
                  <a:pt x="281457" y="167170"/>
                </a:lnTo>
                <a:lnTo>
                  <a:pt x="162877" y="167170"/>
                </a:lnTo>
                <a:lnTo>
                  <a:pt x="160019" y="164312"/>
                </a:lnTo>
                <a:lnTo>
                  <a:pt x="160019" y="155740"/>
                </a:lnTo>
                <a:close/>
              </a:path>
              <a:path w="365759" h="365760">
                <a:moveTo>
                  <a:pt x="117157" y="171450"/>
                </a:moveTo>
                <a:lnTo>
                  <a:pt x="95719" y="171450"/>
                </a:lnTo>
                <a:lnTo>
                  <a:pt x="89293" y="178600"/>
                </a:lnTo>
                <a:lnTo>
                  <a:pt x="86750" y="183977"/>
                </a:lnTo>
                <a:lnTo>
                  <a:pt x="85592" y="190295"/>
                </a:lnTo>
                <a:lnTo>
                  <a:pt x="85606" y="194310"/>
                </a:lnTo>
                <a:lnTo>
                  <a:pt x="97154" y="231457"/>
                </a:lnTo>
                <a:lnTo>
                  <a:pt x="101434" y="237172"/>
                </a:lnTo>
                <a:lnTo>
                  <a:pt x="99301" y="245745"/>
                </a:lnTo>
                <a:lnTo>
                  <a:pt x="97866" y="250024"/>
                </a:lnTo>
                <a:lnTo>
                  <a:pt x="96443" y="255028"/>
                </a:lnTo>
                <a:lnTo>
                  <a:pt x="93586" y="263601"/>
                </a:lnTo>
                <a:lnTo>
                  <a:pt x="86436" y="265747"/>
                </a:lnTo>
                <a:lnTo>
                  <a:pt x="85724" y="266458"/>
                </a:lnTo>
                <a:lnTo>
                  <a:pt x="127857" y="266458"/>
                </a:lnTo>
                <a:lnTo>
                  <a:pt x="126441" y="265747"/>
                </a:lnTo>
                <a:lnTo>
                  <a:pt x="119303" y="263601"/>
                </a:lnTo>
                <a:lnTo>
                  <a:pt x="115722" y="255028"/>
                </a:lnTo>
                <a:lnTo>
                  <a:pt x="114299" y="250024"/>
                </a:lnTo>
                <a:lnTo>
                  <a:pt x="113588" y="245033"/>
                </a:lnTo>
                <a:lnTo>
                  <a:pt x="111442" y="237172"/>
                </a:lnTo>
                <a:lnTo>
                  <a:pt x="115050" y="231400"/>
                </a:lnTo>
                <a:lnTo>
                  <a:pt x="118195" y="226767"/>
                </a:lnTo>
                <a:lnTo>
                  <a:pt x="121175" y="220738"/>
                </a:lnTo>
                <a:lnTo>
                  <a:pt x="123753" y="214176"/>
                </a:lnTo>
                <a:lnTo>
                  <a:pt x="125729" y="207886"/>
                </a:lnTo>
                <a:lnTo>
                  <a:pt x="127177" y="198486"/>
                </a:lnTo>
                <a:lnTo>
                  <a:pt x="127249" y="190295"/>
                </a:lnTo>
                <a:lnTo>
                  <a:pt x="125831" y="183677"/>
                </a:lnTo>
                <a:lnTo>
                  <a:pt x="122872" y="178600"/>
                </a:lnTo>
                <a:lnTo>
                  <a:pt x="117157" y="171450"/>
                </a:lnTo>
                <a:close/>
              </a:path>
              <a:path w="365759" h="365760">
                <a:moveTo>
                  <a:pt x="350835" y="114300"/>
                </a:moveTo>
                <a:lnTo>
                  <a:pt x="293611" y="114300"/>
                </a:lnTo>
                <a:lnTo>
                  <a:pt x="297179" y="117157"/>
                </a:lnTo>
                <a:lnTo>
                  <a:pt x="297179" y="232879"/>
                </a:lnTo>
                <a:lnTo>
                  <a:pt x="293611" y="235737"/>
                </a:lnTo>
                <a:lnTo>
                  <a:pt x="357372" y="235737"/>
                </a:lnTo>
                <a:lnTo>
                  <a:pt x="359208" y="231400"/>
                </a:lnTo>
                <a:lnTo>
                  <a:pt x="365759" y="182880"/>
                </a:lnTo>
                <a:lnTo>
                  <a:pt x="359208" y="134112"/>
                </a:lnTo>
                <a:lnTo>
                  <a:pt x="350835" y="114300"/>
                </a:lnTo>
                <a:close/>
              </a:path>
              <a:path w="365759" h="365760">
                <a:moveTo>
                  <a:pt x="281457" y="182880"/>
                </a:moveTo>
                <a:lnTo>
                  <a:pt x="262889" y="182880"/>
                </a:lnTo>
                <a:lnTo>
                  <a:pt x="266458" y="185737"/>
                </a:lnTo>
                <a:lnTo>
                  <a:pt x="266458" y="194310"/>
                </a:lnTo>
                <a:lnTo>
                  <a:pt x="262889" y="197878"/>
                </a:lnTo>
                <a:lnTo>
                  <a:pt x="281457" y="197878"/>
                </a:lnTo>
                <a:lnTo>
                  <a:pt x="281457" y="182880"/>
                </a:lnTo>
                <a:close/>
              </a:path>
              <a:path w="365759" h="365760">
                <a:moveTo>
                  <a:pt x="281457" y="152158"/>
                </a:moveTo>
                <a:lnTo>
                  <a:pt x="262889" y="152158"/>
                </a:lnTo>
                <a:lnTo>
                  <a:pt x="266458" y="155740"/>
                </a:lnTo>
                <a:lnTo>
                  <a:pt x="266458" y="164312"/>
                </a:lnTo>
                <a:lnTo>
                  <a:pt x="262889" y="167170"/>
                </a:lnTo>
                <a:lnTo>
                  <a:pt x="281457" y="167170"/>
                </a:lnTo>
                <a:lnTo>
                  <a:pt x="281457" y="152158"/>
                </a:lnTo>
                <a:close/>
              </a:path>
              <a:path w="365759" h="365760">
                <a:moveTo>
                  <a:pt x="281457" y="129298"/>
                </a:moveTo>
                <a:lnTo>
                  <a:pt x="121437" y="129298"/>
                </a:lnTo>
                <a:lnTo>
                  <a:pt x="121437" y="141452"/>
                </a:lnTo>
                <a:lnTo>
                  <a:pt x="118592" y="144297"/>
                </a:lnTo>
                <a:lnTo>
                  <a:pt x="281457" y="144297"/>
                </a:lnTo>
                <a:lnTo>
                  <a:pt x="281457" y="129298"/>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 name="Graphic 13" descr="User outline">
            <a:extLst>
              <a:ext uri="{FF2B5EF4-FFF2-40B4-BE49-F238E27FC236}">
                <a16:creationId xmlns:a16="http://schemas.microsoft.com/office/drawing/2014/main" id="{03F516BA-5953-D4B3-D505-B92C49B61B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0681" y="3616854"/>
            <a:ext cx="235577" cy="235577"/>
          </a:xfrm>
          <a:prstGeom prst="rect">
            <a:avLst/>
          </a:prstGeom>
        </p:spPr>
      </p:pic>
      <p:pic>
        <p:nvPicPr>
          <p:cNvPr id="15" name="Graphic 14" descr="Head with gears outline">
            <a:extLst>
              <a:ext uri="{FF2B5EF4-FFF2-40B4-BE49-F238E27FC236}">
                <a16:creationId xmlns:a16="http://schemas.microsoft.com/office/drawing/2014/main" id="{5BB60DE2-C9AE-D9C7-9421-7DB69242D2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1907" y="5065033"/>
            <a:ext cx="259608" cy="259608"/>
          </a:xfrm>
          <a:prstGeom prst="rect">
            <a:avLst/>
          </a:prstGeom>
        </p:spPr>
      </p:pic>
      <p:sp>
        <p:nvSpPr>
          <p:cNvPr id="17" name="TextBox 16">
            <a:extLst>
              <a:ext uri="{FF2B5EF4-FFF2-40B4-BE49-F238E27FC236}">
                <a16:creationId xmlns:a16="http://schemas.microsoft.com/office/drawing/2014/main" id="{CE1F69C2-FE3A-4D94-E6B5-FF5C7E109E1C}"/>
              </a:ext>
            </a:extLst>
          </p:cNvPr>
          <p:cNvSpPr txBox="1"/>
          <p:nvPr/>
        </p:nvSpPr>
        <p:spPr>
          <a:xfrm>
            <a:off x="3034086" y="417823"/>
            <a:ext cx="9157914" cy="923330"/>
          </a:xfrm>
          <a:prstGeom prst="rect">
            <a:avLst/>
          </a:prstGeom>
          <a:noFill/>
        </p:spPr>
        <p:txBody>
          <a:bodyPr wrap="square">
            <a:spAutoFit/>
          </a:bodyPr>
          <a:lstStyle/>
          <a:p>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The framework for managing data assets within an organization to ensure data quality, security, integrity, and proper classification, thereby enabling effective data usage, compliance, and protection against unauthorized access.</a:t>
            </a:r>
          </a:p>
        </p:txBody>
      </p:sp>
      <p:pic>
        <p:nvPicPr>
          <p:cNvPr id="20" name="Picture 19" descr="image.png">
            <a:extLst>
              <a:ext uri="{FF2B5EF4-FFF2-40B4-BE49-F238E27FC236}">
                <a16:creationId xmlns:a16="http://schemas.microsoft.com/office/drawing/2014/main" id="{309B106C-F276-0868-1799-E7A462B289A8}"/>
              </a:ext>
            </a:extLst>
          </p:cNvPr>
          <p:cNvPicPr>
            <a:picLocks noChangeAspect="1"/>
          </p:cNvPicPr>
          <p:nvPr/>
        </p:nvPicPr>
        <p:blipFill>
          <a:blip r:embed="rId10"/>
          <a:stretch>
            <a:fillRect/>
          </a:stretch>
        </p:blipFill>
        <p:spPr>
          <a:xfrm flipH="1">
            <a:off x="7072390" y="2906666"/>
            <a:ext cx="5119610" cy="3981559"/>
          </a:xfrm>
          <a:prstGeom prst="rect">
            <a:avLst/>
          </a:prstGeom>
        </p:spPr>
      </p:pic>
      <p:sp>
        <p:nvSpPr>
          <p:cNvPr id="21" name="Rectangle 20">
            <a:extLst>
              <a:ext uri="{FF2B5EF4-FFF2-40B4-BE49-F238E27FC236}">
                <a16:creationId xmlns:a16="http://schemas.microsoft.com/office/drawing/2014/main" id="{45BC94D8-D3E1-F030-C63A-D0B5DA3A30C8}"/>
              </a:ext>
            </a:extLst>
          </p:cNvPr>
          <p:cNvSpPr/>
          <p:nvPr/>
        </p:nvSpPr>
        <p:spPr bwMode="gray">
          <a:xfrm>
            <a:off x="166977" y="6249725"/>
            <a:ext cx="1447138" cy="6082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grpSp>
        <p:nvGrpSpPr>
          <p:cNvPr id="22" name="Group 21">
            <a:extLst>
              <a:ext uri="{FF2B5EF4-FFF2-40B4-BE49-F238E27FC236}">
                <a16:creationId xmlns:a16="http://schemas.microsoft.com/office/drawing/2014/main" id="{07A7FE58-F93D-8046-4F67-8B9444E8DD8A}"/>
              </a:ext>
            </a:extLst>
          </p:cNvPr>
          <p:cNvGrpSpPr/>
          <p:nvPr/>
        </p:nvGrpSpPr>
        <p:grpSpPr>
          <a:xfrm>
            <a:off x="166977" y="166796"/>
            <a:ext cx="2041864" cy="2067765"/>
            <a:chOff x="6847360" y="1943759"/>
            <a:chExt cx="2041864" cy="2067765"/>
          </a:xfrm>
        </p:grpSpPr>
        <p:sp>
          <p:nvSpPr>
            <p:cNvPr id="23" name="TextBox 22">
              <a:extLst>
                <a:ext uri="{FF2B5EF4-FFF2-40B4-BE49-F238E27FC236}">
                  <a16:creationId xmlns:a16="http://schemas.microsoft.com/office/drawing/2014/main" id="{A036AF38-3F45-6149-D62E-144E5F2CE1C6}"/>
                </a:ext>
              </a:extLst>
            </p:cNvPr>
            <p:cNvSpPr txBox="1"/>
            <p:nvPr/>
          </p:nvSpPr>
          <p:spPr>
            <a:xfrm>
              <a:off x="6847360" y="3057709"/>
              <a:ext cx="2041864" cy="646331"/>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Data Governance</a:t>
              </a:r>
            </a:p>
          </p:txBody>
        </p:sp>
        <p:sp>
          <p:nvSpPr>
            <p:cNvPr id="24" name="TextBox 23">
              <a:extLst>
                <a:ext uri="{FF2B5EF4-FFF2-40B4-BE49-F238E27FC236}">
                  <a16:creationId xmlns:a16="http://schemas.microsoft.com/office/drawing/2014/main" id="{7AB6901F-65A3-36E3-27F0-5FFBB0EF9D3B}"/>
                </a:ext>
              </a:extLst>
            </p:cNvPr>
            <p:cNvSpPr txBox="1"/>
            <p:nvPr/>
          </p:nvSpPr>
          <p:spPr>
            <a:xfrm>
              <a:off x="6914174" y="3734525"/>
              <a:ext cx="1914890" cy="276999"/>
            </a:xfrm>
            <a:prstGeom prst="rect">
              <a:avLst/>
            </a:prstGeom>
            <a:noFill/>
          </p:spPr>
          <p:txBody>
            <a:bodyPr wrap="square">
              <a:spAutoFit/>
            </a:bodyPr>
            <a:lstStyle/>
            <a:p>
              <a:pPr algn="ct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aphic 4">
              <a:extLst>
                <a:ext uri="{FF2B5EF4-FFF2-40B4-BE49-F238E27FC236}">
                  <a16:creationId xmlns:a16="http://schemas.microsoft.com/office/drawing/2014/main" id="{14B7CD56-4EC0-E52B-9119-C123AF397EC5}"/>
                </a:ext>
              </a:extLst>
            </p:cNvPr>
            <p:cNvGrpSpPr>
              <a:grpSpLocks noChangeAspect="1"/>
            </p:cNvGrpSpPr>
            <p:nvPr/>
          </p:nvGrpSpPr>
          <p:grpSpPr>
            <a:xfrm>
              <a:off x="7406653" y="1943759"/>
              <a:ext cx="923278" cy="922417"/>
              <a:chOff x="4045469" y="3824168"/>
              <a:chExt cx="362309" cy="361971"/>
            </a:xfrm>
            <a:solidFill>
              <a:schemeClr val="accent1"/>
            </a:solidFill>
          </p:grpSpPr>
          <p:sp>
            <p:nvSpPr>
              <p:cNvPr id="26" name="Graphic 4">
                <a:extLst>
                  <a:ext uri="{FF2B5EF4-FFF2-40B4-BE49-F238E27FC236}">
                    <a16:creationId xmlns:a16="http://schemas.microsoft.com/office/drawing/2014/main" id="{A5D99A27-EAE4-4042-2751-32B88064AC96}"/>
                  </a:ext>
                </a:extLst>
              </p:cNvPr>
              <p:cNvSpPr/>
              <p:nvPr/>
            </p:nvSpPr>
            <p:spPr>
              <a:xfrm>
                <a:off x="4045469" y="3824168"/>
                <a:ext cx="362309"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292659 w 362309"/>
                  <a:gd name="connsiteY6" fmla="*/ 266850 h 361971"/>
                  <a:gd name="connsiteX7" fmla="*/ 286270 w 362309"/>
                  <a:gd name="connsiteY7" fmla="*/ 273234 h 361971"/>
                  <a:gd name="connsiteX8" fmla="*/ 241540 w 362309"/>
                  <a:gd name="connsiteY8" fmla="*/ 273234 h 361971"/>
                  <a:gd name="connsiteX9" fmla="*/ 235150 w 362309"/>
                  <a:gd name="connsiteY9" fmla="*/ 266850 h 361971"/>
                  <a:gd name="connsiteX10" fmla="*/ 235150 w 362309"/>
                  <a:gd name="connsiteY10" fmla="*/ 236846 h 361971"/>
                  <a:gd name="connsiteX11" fmla="*/ 241540 w 362309"/>
                  <a:gd name="connsiteY11" fmla="*/ 230462 h 361971"/>
                  <a:gd name="connsiteX12" fmla="*/ 257515 w 362309"/>
                  <a:gd name="connsiteY12" fmla="*/ 230462 h 361971"/>
                  <a:gd name="connsiteX13" fmla="*/ 257515 w 362309"/>
                  <a:gd name="connsiteY13" fmla="*/ 190881 h 361971"/>
                  <a:gd name="connsiteX14" fmla="*/ 187864 w 362309"/>
                  <a:gd name="connsiteY14" fmla="*/ 190881 h 361971"/>
                  <a:gd name="connsiteX15" fmla="*/ 187864 w 362309"/>
                  <a:gd name="connsiteY15" fmla="*/ 230462 h 361971"/>
                  <a:gd name="connsiteX16" fmla="*/ 203839 w 362309"/>
                  <a:gd name="connsiteY16" fmla="*/ 230462 h 361971"/>
                  <a:gd name="connsiteX17" fmla="*/ 210229 w 362309"/>
                  <a:gd name="connsiteY17" fmla="*/ 236846 h 361971"/>
                  <a:gd name="connsiteX18" fmla="*/ 210229 w 362309"/>
                  <a:gd name="connsiteY18" fmla="*/ 266850 h 361971"/>
                  <a:gd name="connsiteX19" fmla="*/ 203839 w 362309"/>
                  <a:gd name="connsiteY19" fmla="*/ 273234 h 361971"/>
                  <a:gd name="connsiteX20" fmla="*/ 159110 w 362309"/>
                  <a:gd name="connsiteY20" fmla="*/ 273234 h 361971"/>
                  <a:gd name="connsiteX21" fmla="*/ 152720 w 362309"/>
                  <a:gd name="connsiteY21" fmla="*/ 266850 h 361971"/>
                  <a:gd name="connsiteX22" fmla="*/ 152720 w 362309"/>
                  <a:gd name="connsiteY22" fmla="*/ 236846 h 361971"/>
                  <a:gd name="connsiteX23" fmla="*/ 159110 w 362309"/>
                  <a:gd name="connsiteY23" fmla="*/ 230462 h 361971"/>
                  <a:gd name="connsiteX24" fmla="*/ 175084 w 362309"/>
                  <a:gd name="connsiteY24" fmla="*/ 230462 h 361971"/>
                  <a:gd name="connsiteX25" fmla="*/ 175084 w 362309"/>
                  <a:gd name="connsiteY25" fmla="*/ 190881 h 361971"/>
                  <a:gd name="connsiteX26" fmla="*/ 105434 w 362309"/>
                  <a:gd name="connsiteY26" fmla="*/ 190881 h 361971"/>
                  <a:gd name="connsiteX27" fmla="*/ 105434 w 362309"/>
                  <a:gd name="connsiteY27" fmla="*/ 230462 h 361971"/>
                  <a:gd name="connsiteX28" fmla="*/ 121409 w 362309"/>
                  <a:gd name="connsiteY28" fmla="*/ 230462 h 361971"/>
                  <a:gd name="connsiteX29" fmla="*/ 127799 w 362309"/>
                  <a:gd name="connsiteY29" fmla="*/ 236846 h 361971"/>
                  <a:gd name="connsiteX30" fmla="*/ 127799 w 362309"/>
                  <a:gd name="connsiteY30" fmla="*/ 266850 h 361971"/>
                  <a:gd name="connsiteX31" fmla="*/ 121409 w 362309"/>
                  <a:gd name="connsiteY31" fmla="*/ 273234 h 361971"/>
                  <a:gd name="connsiteX32" fmla="*/ 76679 w 362309"/>
                  <a:gd name="connsiteY32" fmla="*/ 273234 h 361971"/>
                  <a:gd name="connsiteX33" fmla="*/ 70289 w 362309"/>
                  <a:gd name="connsiteY33" fmla="*/ 266850 h 361971"/>
                  <a:gd name="connsiteX34" fmla="*/ 70289 w 362309"/>
                  <a:gd name="connsiteY34" fmla="*/ 236846 h 361971"/>
                  <a:gd name="connsiteX35" fmla="*/ 76679 w 362309"/>
                  <a:gd name="connsiteY35" fmla="*/ 230462 h 361971"/>
                  <a:gd name="connsiteX36" fmla="*/ 92654 w 362309"/>
                  <a:gd name="connsiteY36" fmla="*/ 230462 h 361971"/>
                  <a:gd name="connsiteX37" fmla="*/ 92654 w 362309"/>
                  <a:gd name="connsiteY37" fmla="*/ 184497 h 361971"/>
                  <a:gd name="connsiteX38" fmla="*/ 99044 w 362309"/>
                  <a:gd name="connsiteY38" fmla="*/ 178113 h 361971"/>
                  <a:gd name="connsiteX39" fmla="*/ 175084 w 362309"/>
                  <a:gd name="connsiteY39" fmla="*/ 178113 h 361971"/>
                  <a:gd name="connsiteX40" fmla="*/ 175084 w 362309"/>
                  <a:gd name="connsiteY40" fmla="*/ 138532 h 361971"/>
                  <a:gd name="connsiteX41" fmla="*/ 159110 w 362309"/>
                  <a:gd name="connsiteY41" fmla="*/ 138532 h 361971"/>
                  <a:gd name="connsiteX42" fmla="*/ 152720 w 362309"/>
                  <a:gd name="connsiteY42" fmla="*/ 132148 h 361971"/>
                  <a:gd name="connsiteX43" fmla="*/ 152720 w 362309"/>
                  <a:gd name="connsiteY43" fmla="*/ 95121 h 361971"/>
                  <a:gd name="connsiteX44" fmla="*/ 159110 w 362309"/>
                  <a:gd name="connsiteY44" fmla="*/ 88737 h 361971"/>
                  <a:gd name="connsiteX45" fmla="*/ 203839 w 362309"/>
                  <a:gd name="connsiteY45" fmla="*/ 88737 h 361971"/>
                  <a:gd name="connsiteX46" fmla="*/ 210229 w 362309"/>
                  <a:gd name="connsiteY46" fmla="*/ 95121 h 361971"/>
                  <a:gd name="connsiteX47" fmla="*/ 210229 w 362309"/>
                  <a:gd name="connsiteY47" fmla="*/ 132148 h 361971"/>
                  <a:gd name="connsiteX48" fmla="*/ 203839 w 362309"/>
                  <a:gd name="connsiteY48" fmla="*/ 138532 h 361971"/>
                  <a:gd name="connsiteX49" fmla="*/ 187864 w 362309"/>
                  <a:gd name="connsiteY49" fmla="*/ 138532 h 361971"/>
                  <a:gd name="connsiteX50" fmla="*/ 187864 w 362309"/>
                  <a:gd name="connsiteY50" fmla="*/ 178113 h 361971"/>
                  <a:gd name="connsiteX51" fmla="*/ 263905 w 362309"/>
                  <a:gd name="connsiteY51" fmla="*/ 178113 h 361971"/>
                  <a:gd name="connsiteX52" fmla="*/ 270295 w 362309"/>
                  <a:gd name="connsiteY52" fmla="*/ 184497 h 361971"/>
                  <a:gd name="connsiteX53" fmla="*/ 270295 w 362309"/>
                  <a:gd name="connsiteY53" fmla="*/ 230462 h 361971"/>
                  <a:gd name="connsiteX54" fmla="*/ 286270 w 362309"/>
                  <a:gd name="connsiteY54" fmla="*/ 230462 h 361971"/>
                  <a:gd name="connsiteX55" fmla="*/ 292659 w 362309"/>
                  <a:gd name="connsiteY55" fmla="*/ 236846 h 361971"/>
                  <a:gd name="connsiteX56" fmla="*/ 292659 w 362309"/>
                  <a:gd name="connsiteY56" fmla="*/ 26685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2309" h="361971">
                    <a:moveTo>
                      <a:pt x="181474" y="0"/>
                    </a:moveTo>
                    <a:cubicBezTo>
                      <a:pt x="81152" y="0"/>
                      <a:pt x="0" y="81076"/>
                      <a:pt x="0" y="180667"/>
                    </a:cubicBezTo>
                    <a:cubicBezTo>
                      <a:pt x="0" y="280257"/>
                      <a:pt x="81152" y="361971"/>
                      <a:pt x="180836" y="361971"/>
                    </a:cubicBezTo>
                    <a:cubicBezTo>
                      <a:pt x="280518" y="361971"/>
                      <a:pt x="362310" y="280895"/>
                      <a:pt x="362310" y="181305"/>
                    </a:cubicBezTo>
                    <a:lnTo>
                      <a:pt x="362310" y="181305"/>
                    </a:lnTo>
                    <a:cubicBezTo>
                      <a:pt x="362310" y="81076"/>
                      <a:pt x="281796" y="0"/>
                      <a:pt x="181474" y="0"/>
                    </a:cubicBezTo>
                    <a:close/>
                    <a:moveTo>
                      <a:pt x="292659" y="266850"/>
                    </a:moveTo>
                    <a:cubicBezTo>
                      <a:pt x="292659" y="270681"/>
                      <a:pt x="290103" y="273234"/>
                      <a:pt x="286270" y="273234"/>
                    </a:cubicBezTo>
                    <a:lnTo>
                      <a:pt x="241540" y="273234"/>
                    </a:lnTo>
                    <a:cubicBezTo>
                      <a:pt x="237706" y="273234"/>
                      <a:pt x="235150" y="270681"/>
                      <a:pt x="235150" y="266850"/>
                    </a:cubicBezTo>
                    <a:lnTo>
                      <a:pt x="235150" y="236846"/>
                    </a:lnTo>
                    <a:cubicBezTo>
                      <a:pt x="235150" y="233015"/>
                      <a:pt x="237706" y="230462"/>
                      <a:pt x="241540" y="230462"/>
                    </a:cubicBezTo>
                    <a:lnTo>
                      <a:pt x="257515" y="230462"/>
                    </a:lnTo>
                    <a:lnTo>
                      <a:pt x="257515" y="190881"/>
                    </a:lnTo>
                    <a:lnTo>
                      <a:pt x="187864" y="190881"/>
                    </a:lnTo>
                    <a:lnTo>
                      <a:pt x="187864" y="230462"/>
                    </a:lnTo>
                    <a:lnTo>
                      <a:pt x="203839" y="230462"/>
                    </a:lnTo>
                    <a:cubicBezTo>
                      <a:pt x="207673" y="230462"/>
                      <a:pt x="210229" y="233015"/>
                      <a:pt x="210229" y="236846"/>
                    </a:cubicBezTo>
                    <a:lnTo>
                      <a:pt x="210229" y="266850"/>
                    </a:lnTo>
                    <a:cubicBezTo>
                      <a:pt x="210229" y="270681"/>
                      <a:pt x="207673" y="273234"/>
                      <a:pt x="203839" y="273234"/>
                    </a:cubicBezTo>
                    <a:lnTo>
                      <a:pt x="159110" y="273234"/>
                    </a:lnTo>
                    <a:cubicBezTo>
                      <a:pt x="155276" y="273234"/>
                      <a:pt x="152720" y="270681"/>
                      <a:pt x="152720" y="266850"/>
                    </a:cubicBezTo>
                    <a:lnTo>
                      <a:pt x="152720" y="236846"/>
                    </a:lnTo>
                    <a:cubicBezTo>
                      <a:pt x="152720" y="233015"/>
                      <a:pt x="155276" y="230462"/>
                      <a:pt x="159110" y="230462"/>
                    </a:cubicBezTo>
                    <a:lnTo>
                      <a:pt x="175084" y="230462"/>
                    </a:lnTo>
                    <a:lnTo>
                      <a:pt x="175084" y="190881"/>
                    </a:lnTo>
                    <a:lnTo>
                      <a:pt x="105434" y="190881"/>
                    </a:lnTo>
                    <a:lnTo>
                      <a:pt x="105434" y="230462"/>
                    </a:lnTo>
                    <a:lnTo>
                      <a:pt x="121409" y="230462"/>
                    </a:lnTo>
                    <a:cubicBezTo>
                      <a:pt x="125243" y="230462"/>
                      <a:pt x="127799" y="233015"/>
                      <a:pt x="127799" y="236846"/>
                    </a:cubicBezTo>
                    <a:lnTo>
                      <a:pt x="127799" y="266850"/>
                    </a:lnTo>
                    <a:cubicBezTo>
                      <a:pt x="127799" y="270681"/>
                      <a:pt x="125243" y="273234"/>
                      <a:pt x="121409" y="273234"/>
                    </a:cubicBezTo>
                    <a:lnTo>
                      <a:pt x="76679" y="273234"/>
                    </a:lnTo>
                    <a:cubicBezTo>
                      <a:pt x="72845" y="273234"/>
                      <a:pt x="70289" y="270681"/>
                      <a:pt x="70289" y="266850"/>
                    </a:cubicBezTo>
                    <a:lnTo>
                      <a:pt x="70289" y="236846"/>
                    </a:lnTo>
                    <a:cubicBezTo>
                      <a:pt x="70289" y="233015"/>
                      <a:pt x="72845" y="230462"/>
                      <a:pt x="76679" y="230462"/>
                    </a:cubicBezTo>
                    <a:lnTo>
                      <a:pt x="92654" y="230462"/>
                    </a:lnTo>
                    <a:lnTo>
                      <a:pt x="92654" y="184497"/>
                    </a:lnTo>
                    <a:cubicBezTo>
                      <a:pt x="92654" y="180667"/>
                      <a:pt x="95210" y="178113"/>
                      <a:pt x="99044" y="178113"/>
                    </a:cubicBezTo>
                    <a:lnTo>
                      <a:pt x="175084" y="178113"/>
                    </a:lnTo>
                    <a:lnTo>
                      <a:pt x="175084" y="138532"/>
                    </a:lnTo>
                    <a:lnTo>
                      <a:pt x="159110" y="138532"/>
                    </a:lnTo>
                    <a:cubicBezTo>
                      <a:pt x="155276" y="138532"/>
                      <a:pt x="152720" y="135979"/>
                      <a:pt x="152720" y="132148"/>
                    </a:cubicBezTo>
                    <a:lnTo>
                      <a:pt x="152720" y="95121"/>
                    </a:lnTo>
                    <a:cubicBezTo>
                      <a:pt x="152720" y="91291"/>
                      <a:pt x="155276" y="88737"/>
                      <a:pt x="159110" y="88737"/>
                    </a:cubicBezTo>
                    <a:lnTo>
                      <a:pt x="203839" y="88737"/>
                    </a:lnTo>
                    <a:cubicBezTo>
                      <a:pt x="207673" y="88737"/>
                      <a:pt x="210229" y="91291"/>
                      <a:pt x="210229" y="95121"/>
                    </a:cubicBezTo>
                    <a:lnTo>
                      <a:pt x="210229" y="132148"/>
                    </a:lnTo>
                    <a:cubicBezTo>
                      <a:pt x="210229" y="135979"/>
                      <a:pt x="207673" y="138532"/>
                      <a:pt x="203839" y="138532"/>
                    </a:cubicBezTo>
                    <a:lnTo>
                      <a:pt x="187864" y="138532"/>
                    </a:lnTo>
                    <a:lnTo>
                      <a:pt x="187864" y="178113"/>
                    </a:lnTo>
                    <a:lnTo>
                      <a:pt x="263905" y="178113"/>
                    </a:lnTo>
                    <a:cubicBezTo>
                      <a:pt x="267739" y="178113"/>
                      <a:pt x="270295" y="180667"/>
                      <a:pt x="270295" y="184497"/>
                    </a:cubicBezTo>
                    <a:lnTo>
                      <a:pt x="270295" y="230462"/>
                    </a:lnTo>
                    <a:lnTo>
                      <a:pt x="286270" y="230462"/>
                    </a:lnTo>
                    <a:cubicBezTo>
                      <a:pt x="290103" y="230462"/>
                      <a:pt x="292659" y="233015"/>
                      <a:pt x="292659" y="236846"/>
                    </a:cubicBezTo>
                    <a:lnTo>
                      <a:pt x="292659" y="266850"/>
                    </a:lnTo>
                    <a:close/>
                  </a:path>
                </a:pathLst>
              </a:custGeom>
              <a:solidFill>
                <a:schemeClr val="accent6">
                  <a:lumMod val="100000"/>
                </a:schemeClr>
              </a:solid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7" name="Graphic 4">
                <a:extLst>
                  <a:ext uri="{FF2B5EF4-FFF2-40B4-BE49-F238E27FC236}">
                    <a16:creationId xmlns:a16="http://schemas.microsoft.com/office/drawing/2014/main" id="{13A9622C-F9C3-4260-D8AB-D5308F85967F}"/>
                  </a:ext>
                </a:extLst>
              </p:cNvPr>
              <p:cNvSpPr/>
              <p:nvPr/>
            </p:nvSpPr>
            <p:spPr>
              <a:xfrm>
                <a:off x="4210968" y="4067397"/>
                <a:ext cx="31949" cy="17236"/>
              </a:xfrm>
              <a:custGeom>
                <a:avLst/>
                <a:gdLst>
                  <a:gd name="connsiteX0" fmla="*/ 0 w 31949"/>
                  <a:gd name="connsiteY0" fmla="*/ 0 h 17236"/>
                  <a:gd name="connsiteX1" fmla="*/ 31950 w 31949"/>
                  <a:gd name="connsiteY1" fmla="*/ 0 h 17236"/>
                  <a:gd name="connsiteX2" fmla="*/ 31950 w 31949"/>
                  <a:gd name="connsiteY2" fmla="*/ 17237 h 17236"/>
                  <a:gd name="connsiteX3" fmla="*/ 0 w 31949"/>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1949" h="17236">
                    <a:moveTo>
                      <a:pt x="0" y="0"/>
                    </a:moveTo>
                    <a:lnTo>
                      <a:pt x="31950" y="0"/>
                    </a:lnTo>
                    <a:lnTo>
                      <a:pt x="31950" y="17237"/>
                    </a:lnTo>
                    <a:lnTo>
                      <a:pt x="0" y="17237"/>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8" name="Graphic 4">
                <a:extLst>
                  <a:ext uri="{FF2B5EF4-FFF2-40B4-BE49-F238E27FC236}">
                    <a16:creationId xmlns:a16="http://schemas.microsoft.com/office/drawing/2014/main" id="{1ED55875-4DF7-9EF8-5FDF-03E97717B9F3}"/>
                  </a:ext>
                </a:extLst>
              </p:cNvPr>
              <p:cNvSpPr/>
              <p:nvPr/>
            </p:nvSpPr>
            <p:spPr>
              <a:xfrm>
                <a:off x="4210968" y="3925673"/>
                <a:ext cx="31949" cy="24897"/>
              </a:xfrm>
              <a:custGeom>
                <a:avLst/>
                <a:gdLst>
                  <a:gd name="connsiteX0" fmla="*/ 0 w 31949"/>
                  <a:gd name="connsiteY0" fmla="*/ 0 h 24897"/>
                  <a:gd name="connsiteX1" fmla="*/ 31950 w 31949"/>
                  <a:gd name="connsiteY1" fmla="*/ 0 h 24897"/>
                  <a:gd name="connsiteX2" fmla="*/ 31950 w 31949"/>
                  <a:gd name="connsiteY2" fmla="*/ 24898 h 24897"/>
                  <a:gd name="connsiteX3" fmla="*/ 0 w 31949"/>
                  <a:gd name="connsiteY3" fmla="*/ 24898 h 24897"/>
                </a:gdLst>
                <a:ahLst/>
                <a:cxnLst>
                  <a:cxn ang="0">
                    <a:pos x="connsiteX0" y="connsiteY0"/>
                  </a:cxn>
                  <a:cxn ang="0">
                    <a:pos x="connsiteX1" y="connsiteY1"/>
                  </a:cxn>
                  <a:cxn ang="0">
                    <a:pos x="connsiteX2" y="connsiteY2"/>
                  </a:cxn>
                  <a:cxn ang="0">
                    <a:pos x="connsiteX3" y="connsiteY3"/>
                  </a:cxn>
                </a:cxnLst>
                <a:rect l="l" t="t" r="r" b="b"/>
                <a:pathLst>
                  <a:path w="31949" h="24897">
                    <a:moveTo>
                      <a:pt x="0" y="0"/>
                    </a:moveTo>
                    <a:lnTo>
                      <a:pt x="31950" y="0"/>
                    </a:lnTo>
                    <a:lnTo>
                      <a:pt x="31950" y="24898"/>
                    </a:lnTo>
                    <a:lnTo>
                      <a:pt x="0" y="24898"/>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9" name="Graphic 4">
                <a:extLst>
                  <a:ext uri="{FF2B5EF4-FFF2-40B4-BE49-F238E27FC236}">
                    <a16:creationId xmlns:a16="http://schemas.microsoft.com/office/drawing/2014/main" id="{0D93AE61-7C07-2D4C-5EA9-71503668EB03}"/>
                  </a:ext>
                </a:extLst>
              </p:cNvPr>
              <p:cNvSpPr/>
              <p:nvPr/>
            </p:nvSpPr>
            <p:spPr>
              <a:xfrm>
                <a:off x="4128538" y="4067397"/>
                <a:ext cx="31949" cy="17236"/>
              </a:xfrm>
              <a:custGeom>
                <a:avLst/>
                <a:gdLst>
                  <a:gd name="connsiteX0" fmla="*/ 0 w 31949"/>
                  <a:gd name="connsiteY0" fmla="*/ 0 h 17236"/>
                  <a:gd name="connsiteX1" fmla="*/ 31950 w 31949"/>
                  <a:gd name="connsiteY1" fmla="*/ 0 h 17236"/>
                  <a:gd name="connsiteX2" fmla="*/ 31950 w 31949"/>
                  <a:gd name="connsiteY2" fmla="*/ 17237 h 17236"/>
                  <a:gd name="connsiteX3" fmla="*/ 0 w 31949"/>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1949" h="17236">
                    <a:moveTo>
                      <a:pt x="0" y="0"/>
                    </a:moveTo>
                    <a:lnTo>
                      <a:pt x="31950" y="0"/>
                    </a:lnTo>
                    <a:lnTo>
                      <a:pt x="31950" y="17237"/>
                    </a:lnTo>
                    <a:lnTo>
                      <a:pt x="0" y="17237"/>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0" name="Graphic 4">
                <a:extLst>
                  <a:ext uri="{FF2B5EF4-FFF2-40B4-BE49-F238E27FC236}">
                    <a16:creationId xmlns:a16="http://schemas.microsoft.com/office/drawing/2014/main" id="{4AF08E3F-10CE-E121-26A4-8A0FEC37BE1C}"/>
                  </a:ext>
                </a:extLst>
              </p:cNvPr>
              <p:cNvSpPr/>
              <p:nvPr/>
            </p:nvSpPr>
            <p:spPr>
              <a:xfrm>
                <a:off x="4293398" y="4067397"/>
                <a:ext cx="31949" cy="17236"/>
              </a:xfrm>
              <a:custGeom>
                <a:avLst/>
                <a:gdLst>
                  <a:gd name="connsiteX0" fmla="*/ 0 w 31949"/>
                  <a:gd name="connsiteY0" fmla="*/ 0 h 17236"/>
                  <a:gd name="connsiteX1" fmla="*/ 31950 w 31949"/>
                  <a:gd name="connsiteY1" fmla="*/ 0 h 17236"/>
                  <a:gd name="connsiteX2" fmla="*/ 31950 w 31949"/>
                  <a:gd name="connsiteY2" fmla="*/ 17237 h 17236"/>
                  <a:gd name="connsiteX3" fmla="*/ 0 w 31949"/>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1949" h="17236">
                    <a:moveTo>
                      <a:pt x="0" y="0"/>
                    </a:moveTo>
                    <a:lnTo>
                      <a:pt x="31950" y="0"/>
                    </a:lnTo>
                    <a:lnTo>
                      <a:pt x="31950" y="17237"/>
                    </a:lnTo>
                    <a:lnTo>
                      <a:pt x="0" y="17237"/>
                    </a:lnTo>
                    <a:close/>
                  </a:path>
                </a:pathLst>
              </a:custGeom>
              <a:grpFill/>
              <a:ln w="639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spTree>
    <p:extLst>
      <p:ext uri="{BB962C8B-B14F-4D97-AF65-F5344CB8AC3E}">
        <p14:creationId xmlns:p14="http://schemas.microsoft.com/office/powerpoint/2010/main" val="38721627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1">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Brand_Theme" id="{E5778285-F657-46FA-83E9-5ECC214999D3}" vid="{931F9C79-6C51-4118-B787-859488224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CB56BDC4142A1D4F8DB7C35253B2D88F" ma:contentTypeVersion="15" ma:contentTypeDescription="Creare un nuovo documento." ma:contentTypeScope="" ma:versionID="dffcfdde6938184ffa00fd14f15f80c6">
  <xsd:schema xmlns:xsd="http://www.w3.org/2001/XMLSchema" xmlns:xs="http://www.w3.org/2001/XMLSchema" xmlns:p="http://schemas.microsoft.com/office/2006/metadata/properties" xmlns:ns2="1e4942ad-d942-48d3-9116-4fa926ae7b45" xmlns:ns3="5e0fd5ec-0782-44b5-b9d0-c993a9cdeda2" targetNamespace="http://schemas.microsoft.com/office/2006/metadata/properties" ma:root="true" ma:fieldsID="661d6ddb526183451380b3fb0a5cd5f5" ns2:_="" ns3:_="">
    <xsd:import namespace="1e4942ad-d942-48d3-9116-4fa926ae7b45"/>
    <xsd:import namespace="5e0fd5ec-0782-44b5-b9d0-c993a9cdeda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OCR"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4942ad-d942-48d3-9116-4fa926ae7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Tag immagine"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e0fd5ec-0782-44b5-b9d0-c993a9cdeda2" elementFormDefault="qualified">
    <xsd:import namespace="http://schemas.microsoft.com/office/2006/documentManagement/types"/>
    <xsd:import namespace="http://schemas.microsoft.com/office/infopath/2007/PartnerControls"/>
    <xsd:element name="SharedWithUsers" ma:index="15"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Condiviso con dettagli" ma:internalName="SharedWithDetails" ma:readOnly="true">
      <xsd:simpleType>
        <xsd:restriction base="dms:Note">
          <xsd:maxLength value="255"/>
        </xsd:restriction>
      </xsd:simpleType>
    </xsd:element>
    <xsd:element name="TaxCatchAll" ma:index="19" nillable="true" ma:displayName="Taxonomy Catch All Column" ma:hidden="true" ma:list="{43566221-8151-4594-a3f6-08ab1071e72a}" ma:internalName="TaxCatchAll" ma:showField="CatchAllData" ma:web="5e0fd5ec-0782-44b5-b9d0-c993a9cded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TemplateConfiguration><![CDATA[{"elementsMetadata":[],"transformationConfigurations":[],"templateName":"Deloitte Network 16x9 OnScreen_2025","templateDescription":"Template Deloitte Network per proiezione | aggiornato con font Aptos","enableDocumentContentUpdater":false,"version":"2.0"}]]></TemplafyTemplateConfiguration>
</file>

<file path=customXml/item3.xml><?xml version="1.0" encoding="utf-8"?>
<TemplafySlideFormConfiguration><![CDATA[{"formFields":[],"formDataEntries":[]}]]></TemplafySlideForm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TemplafyFormConfiguration><![CDATA[{"formFields":[],"formDataEntries":[]}]]></TemplafyFormConfiguration>
</file>

<file path=customXml/item6.xml><?xml version="1.0" encoding="utf-8"?>
<TemplafySlideTemplateConfiguration><![CDATA[{"slideVersion":2,"isValidatorEnabled":false,"isLocked":false,"elementsMetadata":[],"slideId":"638427368755697593","enableDocumentContentUpdater":false,"version":"2.0"}]]></TemplafySlideTemplateConfiguration>
</file>

<file path=customXml/item7.xml><?xml version="1.0" encoding="utf-8"?>
<p:properties xmlns:p="http://schemas.microsoft.com/office/2006/metadata/properties" xmlns:xsi="http://www.w3.org/2001/XMLSchema-instance" xmlns:pc="http://schemas.microsoft.com/office/infopath/2007/PartnerControls">
  <documentManagement>
    <TaxCatchAll xmlns="5e0fd5ec-0782-44b5-b9d0-c993a9cdeda2" xsi:nil="true"/>
    <lcf76f155ced4ddcb4097134ff3c332f xmlns="1e4942ad-d942-48d3-9116-4fa926ae7b4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8E197D0-C1A0-4B2A-AD30-B337C81D3000}">
  <ds:schemaRefs>
    <ds:schemaRef ds:uri="1e4942ad-d942-48d3-9116-4fa926ae7b45"/>
    <ds:schemaRef ds:uri="5e0fd5ec-0782-44b5-b9d0-c993a9cdeda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677CB49-4BDA-4B0E-9543-C9D968F4B2CB}">
  <ds:schemaRefs/>
</ds:datastoreItem>
</file>

<file path=customXml/itemProps3.xml><?xml version="1.0" encoding="utf-8"?>
<ds:datastoreItem xmlns:ds="http://schemas.openxmlformats.org/officeDocument/2006/customXml" ds:itemID="{90DEE20E-F35C-42FF-ABE6-D6D551E81C0F}">
  <ds:schemaRefs/>
</ds:datastoreItem>
</file>

<file path=customXml/itemProps4.xml><?xml version="1.0" encoding="utf-8"?>
<ds:datastoreItem xmlns:ds="http://schemas.openxmlformats.org/officeDocument/2006/customXml" ds:itemID="{66E6CC2D-2343-40C9-BF57-ACB940668AFF}">
  <ds:schemaRefs>
    <ds:schemaRef ds:uri="http://schemas.microsoft.com/sharepoint/v3/contenttype/forms"/>
  </ds:schemaRefs>
</ds:datastoreItem>
</file>

<file path=customXml/itemProps5.xml><?xml version="1.0" encoding="utf-8"?>
<ds:datastoreItem xmlns:ds="http://schemas.openxmlformats.org/officeDocument/2006/customXml" ds:itemID="{50ACCC52-F647-4484-82AA-0F3F2833AA8D}">
  <ds:schemaRefs/>
</ds:datastoreItem>
</file>

<file path=customXml/itemProps6.xml><?xml version="1.0" encoding="utf-8"?>
<ds:datastoreItem xmlns:ds="http://schemas.openxmlformats.org/officeDocument/2006/customXml" ds:itemID="{80A09AD1-F959-41BF-B575-22D7AB2B9652}">
  <ds:schemaRefs/>
</ds:datastoreItem>
</file>

<file path=customXml/itemProps7.xml><?xml version="1.0" encoding="utf-8"?>
<ds:datastoreItem xmlns:ds="http://schemas.openxmlformats.org/officeDocument/2006/customXml" ds:itemID="{9BBF235D-5BAD-4A08-AEE0-5E29BE15689F}">
  <ds:schemaRefs>
    <ds:schemaRef ds:uri="1e4942ad-d942-48d3-9116-4fa926ae7b45"/>
    <ds:schemaRef ds:uri="http://schemas.microsoft.com/office/2006/documentManagement/types"/>
    <ds:schemaRef ds:uri="http://www.w3.org/XML/1998/namespace"/>
    <ds:schemaRef ds:uri="http://schemas.microsoft.com/office/2006/metadata/properties"/>
    <ds:schemaRef ds:uri="http://purl.org/dc/elements/1.1/"/>
    <ds:schemaRef ds:uri="http://purl.org/dc/terms/"/>
    <ds:schemaRef ds:uri="http://purl.org/dc/dcmitype/"/>
    <ds:schemaRef ds:uri="5e0fd5ec-0782-44b5-b9d0-c993a9cdeda2"/>
    <ds:schemaRef ds:uri="http://schemas.microsoft.com/office/infopath/2007/PartnerControls"/>
    <ds:schemaRef ds:uri="http://schemas.openxmlformats.org/package/2006/metadata/core-properties"/>
  </ds:schemaRefs>
</ds:datastoreItem>
</file>

<file path=docMetadata/LabelInfo.xml><?xml version="1.0" encoding="utf-8"?>
<clbl:labelList xmlns:clbl="http://schemas.microsoft.com/office/2020/mipLabelMetadata">
  <clbl:label id="{ea60d57e-af5b-4752-ac57-3e4f28ca11dc}" enabled="1" method="Privilege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4365</TotalTime>
  <Words>2335</Words>
  <Application>Microsoft Office PowerPoint</Application>
  <PresentationFormat>Widescreen</PresentationFormat>
  <Paragraphs>209</Paragraphs>
  <Slides>17</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ptos</vt:lpstr>
      <vt:lpstr>Arial</vt:lpstr>
      <vt:lpstr>Calibri</vt:lpstr>
      <vt:lpstr>Open Sans</vt:lpstr>
      <vt:lpstr>Open Sans Bold</vt:lpstr>
      <vt:lpstr>Open Sans ExtraBold</vt:lpstr>
      <vt:lpstr>Open Sans Light</vt:lpstr>
      <vt:lpstr>Verdana</vt:lpstr>
      <vt:lpstr>Wingdings 2</vt:lpstr>
      <vt:lpstr>Deloitte_Brand_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t’s make it Interactive!</vt:lpstr>
      <vt:lpstr>PowerPoint Presentation</vt:lpstr>
      <vt:lpstr>PowerPoint Presentation</vt:lpstr>
      <vt:lpstr>PowerPoint Presentation</vt:lpstr>
      <vt:lpstr>PowerPoint Presentation</vt:lpstr>
      <vt:lpstr>PowerPoint Presentation</vt:lpstr>
      <vt:lpstr>PowerPoint Presentation</vt:lpstr>
      <vt:lpstr>Tool Overview</vt:lpstr>
      <vt:lpstr>Tool Overview</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6x9 Onscreen PPT</dc:title>
  <dc:creator>Guarino, Siria</dc:creator>
  <cp:lastModifiedBy>Rienks, Rutger</cp:lastModifiedBy>
  <cp:revision>4</cp:revision>
  <dcterms:created xsi:type="dcterms:W3CDTF">2025-04-11T10:10:11Z</dcterms:created>
  <dcterms:modified xsi:type="dcterms:W3CDTF">2026-03-06T21:4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05T20:58:3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ab57f92-f9f5-4e1c-bb56-f0415941686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TemplafyTimeStamp">
    <vt:lpwstr>2025-03-18T11:16:37</vt:lpwstr>
  </property>
  <property fmtid="{D5CDD505-2E9C-101B-9397-08002B2CF9AE}" pid="11" name="TemplafyTenantId">
    <vt:lpwstr>deloittecm</vt:lpwstr>
  </property>
  <property fmtid="{D5CDD505-2E9C-101B-9397-08002B2CF9AE}" pid="12" name="TemplafyTemplateId">
    <vt:lpwstr>638248494425998935</vt:lpwstr>
  </property>
  <property fmtid="{D5CDD505-2E9C-101B-9397-08002B2CF9AE}" pid="13" name="TemplafyUserProfileId">
    <vt:lpwstr>638109450311433024</vt:lpwstr>
  </property>
  <property fmtid="{D5CDD505-2E9C-101B-9397-08002B2CF9AE}" pid="14" name="TemplafyFromBlank">
    <vt:bool>false</vt:bool>
  </property>
  <property fmtid="{D5CDD505-2E9C-101B-9397-08002B2CF9AE}" pid="15" name="ContentTypeId">
    <vt:lpwstr>0x010100CB56BDC4142A1D4F8DB7C35253B2D88F</vt:lpwstr>
  </property>
</Properties>
</file>